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983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869" userDrawn="1">
          <p15:clr>
            <a:srgbClr val="A4A3A4"/>
          </p15:clr>
        </p15:guide>
        <p15:guide id="4" pos="495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A5D4"/>
    <a:srgbClr val="47AB2C"/>
    <a:srgbClr val="3C4F69"/>
    <a:srgbClr val="1A24AA"/>
    <a:srgbClr val="94186B"/>
    <a:srgbClr val="C40811"/>
    <a:srgbClr val="FFB115"/>
    <a:srgbClr val="3542E0"/>
    <a:srgbClr val="C82091"/>
    <a:srgbClr val="F62B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78" autoAdjust="0"/>
    <p:restoredTop sz="96201" autoAdjust="0"/>
  </p:normalViewPr>
  <p:slideViewPr>
    <p:cSldViewPr snapToGrid="0">
      <p:cViewPr varScale="1">
        <p:scale>
          <a:sx n="102" d="100"/>
          <a:sy n="102" d="100"/>
        </p:scale>
        <p:origin x="828" y="108"/>
      </p:cViewPr>
      <p:guideLst>
        <p:guide orient="horz" pos="2160"/>
        <p:guide pos="869"/>
        <p:guide pos="495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12/1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712FC-90FF-4B94-9263-B812CCB51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C036D0-E6B5-434C-940A-96676C27C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4CBDD0-5377-499C-A75C-DCB6DEF03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11BD4D-1490-4F18-8CD7-D2ADC24CF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419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093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909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3" r:id="rId2"/>
    <p:sldLayoutId id="2147483734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691A5-68DE-408A-98D3-83368BF730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gypt</a:t>
            </a:r>
          </a:p>
        </p:txBody>
      </p:sp>
      <p:pic>
        <p:nvPicPr>
          <p:cNvPr id="4" name="Picture 3" descr="A red and white flag&#10;&#10;Description automatically generated with medium confidence">
            <a:extLst>
              <a:ext uri="{FF2B5EF4-FFF2-40B4-BE49-F238E27FC236}">
                <a16:creationId xmlns:a16="http://schemas.microsoft.com/office/drawing/2014/main" id="{3E05FF48-EFDD-4AAC-A5AA-B8146D52D5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544" y="1629000"/>
            <a:ext cx="2740911" cy="3600000"/>
          </a:xfrm>
          <a:prstGeom prst="rect">
            <a:avLst/>
          </a:prstGeom>
        </p:spPr>
      </p:pic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EB9C21F-7CC5-4260-B645-CDD2BE6DF9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921" y="1975719"/>
            <a:ext cx="1796964" cy="1599999"/>
          </a:xfrm>
          <a:prstGeom prst="rect">
            <a:avLst/>
          </a:prstGeom>
        </p:spPr>
      </p:pic>
      <p:pic>
        <p:nvPicPr>
          <p:cNvPr id="8" name="Picture 7" descr="Logo, icon&#10;&#10;Description automatically generated">
            <a:extLst>
              <a:ext uri="{FF2B5EF4-FFF2-40B4-BE49-F238E27FC236}">
                <a16:creationId xmlns:a16="http://schemas.microsoft.com/office/drawing/2014/main" id="{1CA902F6-237A-4D7D-B488-5A1599BF91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6900" y="3717727"/>
            <a:ext cx="1440000" cy="1440000"/>
          </a:xfrm>
          <a:prstGeom prst="rect">
            <a:avLst/>
          </a:prstGeom>
        </p:spPr>
      </p:pic>
      <p:pic>
        <p:nvPicPr>
          <p:cNvPr id="10" name="Picture 9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5BAE5E44-BA4B-407F-BBBE-6EE4AE85BD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921" y="3787634"/>
            <a:ext cx="1794269" cy="1201330"/>
          </a:xfrm>
          <a:prstGeom prst="rect">
            <a:avLst/>
          </a:prstGeom>
        </p:spPr>
      </p:pic>
      <p:grpSp>
        <p:nvGrpSpPr>
          <p:cNvPr id="7" name="Graphic 140">
            <a:extLst>
              <a:ext uri="{FF2B5EF4-FFF2-40B4-BE49-F238E27FC236}">
                <a16:creationId xmlns:a16="http://schemas.microsoft.com/office/drawing/2014/main" id="{2C8BA52A-CF50-4D91-A573-FEF1C71964AC}"/>
              </a:ext>
            </a:extLst>
          </p:cNvPr>
          <p:cNvGrpSpPr/>
          <p:nvPr/>
        </p:nvGrpSpPr>
        <p:grpSpPr>
          <a:xfrm>
            <a:off x="7866900" y="2032917"/>
            <a:ext cx="2270789" cy="1302713"/>
            <a:chOff x="-3276223" y="-94913"/>
            <a:chExt cx="2020800" cy="1159151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ECA5064-4420-423A-975C-273908EC407D}"/>
                </a:ext>
              </a:extLst>
            </p:cNvPr>
            <p:cNvSpPr/>
            <p:nvPr/>
          </p:nvSpPr>
          <p:spPr>
            <a:xfrm>
              <a:off x="-2819230" y="519950"/>
              <a:ext cx="180365" cy="544287"/>
            </a:xfrm>
            <a:custGeom>
              <a:avLst/>
              <a:gdLst>
                <a:gd name="connsiteX0" fmla="*/ 0 w 180365"/>
                <a:gd name="connsiteY0" fmla="*/ 544288 h 544287"/>
                <a:gd name="connsiteX1" fmla="*/ 180365 w 180365"/>
                <a:gd name="connsiteY1" fmla="*/ 307432 h 544287"/>
                <a:gd name="connsiteX2" fmla="*/ 180365 w 180365"/>
                <a:gd name="connsiteY2" fmla="*/ 0 h 544287"/>
                <a:gd name="connsiteX3" fmla="*/ 0 w 180365"/>
                <a:gd name="connsiteY3" fmla="*/ 236856 h 544287"/>
                <a:gd name="connsiteX4" fmla="*/ 0 w 180365"/>
                <a:gd name="connsiteY4" fmla="*/ 544288 h 54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544287">
                  <a:moveTo>
                    <a:pt x="0" y="544288"/>
                  </a:moveTo>
                  <a:lnTo>
                    <a:pt x="180365" y="307432"/>
                  </a:lnTo>
                  <a:lnTo>
                    <a:pt x="180365" y="0"/>
                  </a:lnTo>
                  <a:lnTo>
                    <a:pt x="0" y="236856"/>
                  </a:lnTo>
                  <a:lnTo>
                    <a:pt x="0" y="544288"/>
                  </a:lnTo>
                  <a:close/>
                </a:path>
              </a:pathLst>
            </a:custGeom>
            <a:solidFill>
              <a:srgbClr val="000000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ACC583B-2993-43E6-89D9-A839DEEC8543}"/>
                </a:ext>
              </a:extLst>
            </p:cNvPr>
            <p:cNvSpPr/>
            <p:nvPr/>
          </p:nvSpPr>
          <p:spPr>
            <a:xfrm>
              <a:off x="-2819230" y="-94913"/>
              <a:ext cx="180365" cy="544287"/>
            </a:xfrm>
            <a:custGeom>
              <a:avLst/>
              <a:gdLst>
                <a:gd name="connsiteX0" fmla="*/ 0 w 180365"/>
                <a:gd name="connsiteY0" fmla="*/ 236856 h 544287"/>
                <a:gd name="connsiteX1" fmla="*/ 0 w 180365"/>
                <a:gd name="connsiteY1" fmla="*/ 236856 h 544287"/>
                <a:gd name="connsiteX2" fmla="*/ 0 w 180365"/>
                <a:gd name="connsiteY2" fmla="*/ 544288 h 544287"/>
                <a:gd name="connsiteX3" fmla="*/ 180365 w 180365"/>
                <a:gd name="connsiteY3" fmla="*/ 307432 h 544287"/>
                <a:gd name="connsiteX4" fmla="*/ 180365 w 180365"/>
                <a:gd name="connsiteY4" fmla="*/ 0 h 544287"/>
                <a:gd name="connsiteX5" fmla="*/ 0 w 180365"/>
                <a:gd name="connsiteY5" fmla="*/ 236856 h 54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365" h="544287">
                  <a:moveTo>
                    <a:pt x="0" y="236856"/>
                  </a:moveTo>
                  <a:lnTo>
                    <a:pt x="0" y="236856"/>
                  </a:lnTo>
                  <a:lnTo>
                    <a:pt x="0" y="544288"/>
                  </a:lnTo>
                  <a:lnTo>
                    <a:pt x="180365" y="307432"/>
                  </a:lnTo>
                  <a:lnTo>
                    <a:pt x="180365" y="0"/>
                  </a:lnTo>
                  <a:lnTo>
                    <a:pt x="0" y="236856"/>
                  </a:lnTo>
                  <a:close/>
                </a:path>
              </a:pathLst>
            </a:custGeom>
            <a:solidFill>
              <a:srgbClr val="9A0E1C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0CF1B51-5D90-4B42-9E1F-73E73FC66553}"/>
                </a:ext>
              </a:extLst>
            </p:cNvPr>
            <p:cNvSpPr/>
            <p:nvPr/>
          </p:nvSpPr>
          <p:spPr>
            <a:xfrm>
              <a:off x="-2819230" y="212518"/>
              <a:ext cx="180365" cy="544287"/>
            </a:xfrm>
            <a:custGeom>
              <a:avLst/>
              <a:gdLst>
                <a:gd name="connsiteX0" fmla="*/ 0 w 180365"/>
                <a:gd name="connsiteY0" fmla="*/ 544288 h 544287"/>
                <a:gd name="connsiteX1" fmla="*/ 180365 w 180365"/>
                <a:gd name="connsiteY1" fmla="*/ 307432 h 544287"/>
                <a:gd name="connsiteX2" fmla="*/ 180365 w 180365"/>
                <a:gd name="connsiteY2" fmla="*/ 0 h 544287"/>
                <a:gd name="connsiteX3" fmla="*/ 0 w 180365"/>
                <a:gd name="connsiteY3" fmla="*/ 236856 h 544287"/>
                <a:gd name="connsiteX4" fmla="*/ 0 w 180365"/>
                <a:gd name="connsiteY4" fmla="*/ 544288 h 54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544287">
                  <a:moveTo>
                    <a:pt x="0" y="544288"/>
                  </a:moveTo>
                  <a:lnTo>
                    <a:pt x="180365" y="307432"/>
                  </a:lnTo>
                  <a:lnTo>
                    <a:pt x="180365" y="0"/>
                  </a:lnTo>
                  <a:lnTo>
                    <a:pt x="0" y="236856"/>
                  </a:lnTo>
                  <a:lnTo>
                    <a:pt x="0" y="544288"/>
                  </a:lnTo>
                  <a:close/>
                </a:path>
              </a:pathLst>
            </a:custGeom>
            <a:solidFill>
              <a:srgbClr val="BFBFB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F6A3931-9AE4-453C-8D46-66ADEBCC3337}"/>
                </a:ext>
              </a:extLst>
            </p:cNvPr>
            <p:cNvSpPr/>
            <p:nvPr/>
          </p:nvSpPr>
          <p:spPr>
            <a:xfrm>
              <a:off x="-3096212" y="141943"/>
              <a:ext cx="276982" cy="307431"/>
            </a:xfrm>
            <a:custGeom>
              <a:avLst/>
              <a:gdLst>
                <a:gd name="connsiteX0" fmla="*/ 276982 w 276982"/>
                <a:gd name="connsiteY0" fmla="*/ 0 h 307431"/>
                <a:gd name="connsiteX1" fmla="*/ 89980 w 276982"/>
                <a:gd name="connsiteY1" fmla="*/ 0 h 307431"/>
                <a:gd name="connsiteX2" fmla="*/ 0 w 276982"/>
                <a:gd name="connsiteY2" fmla="*/ 307432 h 307431"/>
                <a:gd name="connsiteX3" fmla="*/ 276982 w 276982"/>
                <a:gd name="connsiteY3" fmla="*/ 307432 h 307431"/>
                <a:gd name="connsiteX4" fmla="*/ 276982 w 276982"/>
                <a:gd name="connsiteY4" fmla="*/ 0 h 307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982" h="307431">
                  <a:moveTo>
                    <a:pt x="276982" y="0"/>
                  </a:moveTo>
                  <a:lnTo>
                    <a:pt x="89980" y="0"/>
                  </a:lnTo>
                  <a:lnTo>
                    <a:pt x="0" y="307432"/>
                  </a:lnTo>
                  <a:lnTo>
                    <a:pt x="276982" y="307432"/>
                  </a:lnTo>
                  <a:lnTo>
                    <a:pt x="276982" y="0"/>
                  </a:lnTo>
                  <a:close/>
                </a:path>
              </a:pathLst>
            </a:custGeom>
            <a:solidFill>
              <a:srgbClr val="CD1225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1D328B0-D4FF-4EBA-AB0F-E4BFAC8D2E70}"/>
                </a:ext>
              </a:extLst>
            </p:cNvPr>
            <p:cNvSpPr/>
            <p:nvPr/>
          </p:nvSpPr>
          <p:spPr>
            <a:xfrm>
              <a:off x="-3276223" y="756806"/>
              <a:ext cx="456992" cy="307431"/>
            </a:xfrm>
            <a:custGeom>
              <a:avLst/>
              <a:gdLst>
                <a:gd name="connsiteX0" fmla="*/ 89980 w 456992"/>
                <a:gd name="connsiteY0" fmla="*/ 0 h 307431"/>
                <a:gd name="connsiteX1" fmla="*/ 0 w 456992"/>
                <a:gd name="connsiteY1" fmla="*/ 307432 h 307431"/>
                <a:gd name="connsiteX2" fmla="*/ 456993 w 456992"/>
                <a:gd name="connsiteY2" fmla="*/ 307432 h 307431"/>
                <a:gd name="connsiteX3" fmla="*/ 456993 w 456992"/>
                <a:gd name="connsiteY3" fmla="*/ 0 h 307431"/>
                <a:gd name="connsiteX4" fmla="*/ 89980 w 456992"/>
                <a:gd name="connsiteY4" fmla="*/ 0 h 307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6992" h="307431">
                  <a:moveTo>
                    <a:pt x="89980" y="0"/>
                  </a:moveTo>
                  <a:lnTo>
                    <a:pt x="0" y="307432"/>
                  </a:lnTo>
                  <a:lnTo>
                    <a:pt x="456993" y="307432"/>
                  </a:lnTo>
                  <a:lnTo>
                    <a:pt x="456993" y="0"/>
                  </a:lnTo>
                  <a:lnTo>
                    <a:pt x="89980" y="0"/>
                  </a:lnTo>
                  <a:close/>
                </a:path>
              </a:pathLst>
            </a:custGeom>
            <a:solidFill>
              <a:srgbClr val="000000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06CE716-BE8B-4A5E-BC8A-1EF4ABF5EE09}"/>
                </a:ext>
              </a:extLst>
            </p:cNvPr>
            <p:cNvSpPr/>
            <p:nvPr/>
          </p:nvSpPr>
          <p:spPr>
            <a:xfrm>
              <a:off x="-3186243" y="449374"/>
              <a:ext cx="367012" cy="307431"/>
            </a:xfrm>
            <a:custGeom>
              <a:avLst/>
              <a:gdLst>
                <a:gd name="connsiteX0" fmla="*/ 367013 w 367012"/>
                <a:gd name="connsiteY0" fmla="*/ 0 h 307431"/>
                <a:gd name="connsiteX1" fmla="*/ 90031 w 367012"/>
                <a:gd name="connsiteY1" fmla="*/ 0 h 307431"/>
                <a:gd name="connsiteX2" fmla="*/ 0 w 367012"/>
                <a:gd name="connsiteY2" fmla="*/ 307432 h 307431"/>
                <a:gd name="connsiteX3" fmla="*/ 367013 w 367012"/>
                <a:gd name="connsiteY3" fmla="*/ 307432 h 307431"/>
                <a:gd name="connsiteX4" fmla="*/ 367013 w 367012"/>
                <a:gd name="connsiteY4" fmla="*/ 0 h 307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012" h="307431">
                  <a:moveTo>
                    <a:pt x="367013" y="0"/>
                  </a:moveTo>
                  <a:lnTo>
                    <a:pt x="90031" y="0"/>
                  </a:lnTo>
                  <a:lnTo>
                    <a:pt x="0" y="307432"/>
                  </a:lnTo>
                  <a:lnTo>
                    <a:pt x="367013" y="307432"/>
                  </a:lnTo>
                  <a:lnTo>
                    <a:pt x="367013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9E568D0-39F6-4E5A-AD06-738FCD0AB03C}"/>
                </a:ext>
              </a:extLst>
            </p:cNvPr>
            <p:cNvSpPr/>
            <p:nvPr/>
          </p:nvSpPr>
          <p:spPr>
            <a:xfrm>
              <a:off x="-2638814" y="-94913"/>
              <a:ext cx="1383391" cy="307431"/>
            </a:xfrm>
            <a:custGeom>
              <a:avLst/>
              <a:gdLst>
                <a:gd name="connsiteX0" fmla="*/ 0 w 1383391"/>
                <a:gd name="connsiteY0" fmla="*/ 0 h 307431"/>
                <a:gd name="connsiteX1" fmla="*/ 1383392 w 1383391"/>
                <a:gd name="connsiteY1" fmla="*/ 0 h 307431"/>
                <a:gd name="connsiteX2" fmla="*/ 1383392 w 1383391"/>
                <a:gd name="connsiteY2" fmla="*/ 307432 h 307431"/>
                <a:gd name="connsiteX3" fmla="*/ 0 w 1383391"/>
                <a:gd name="connsiteY3" fmla="*/ 307432 h 307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307431">
                  <a:moveTo>
                    <a:pt x="0" y="0"/>
                  </a:moveTo>
                  <a:lnTo>
                    <a:pt x="1383392" y="0"/>
                  </a:lnTo>
                  <a:lnTo>
                    <a:pt x="1383392" y="307432"/>
                  </a:lnTo>
                  <a:lnTo>
                    <a:pt x="0" y="307432"/>
                  </a:lnTo>
                  <a:close/>
                </a:path>
              </a:pathLst>
            </a:custGeom>
            <a:solidFill>
              <a:srgbClr val="CD1225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F125BF3-AA4E-4A9E-9676-C0B52468372D}"/>
                </a:ext>
              </a:extLst>
            </p:cNvPr>
            <p:cNvSpPr/>
            <p:nvPr/>
          </p:nvSpPr>
          <p:spPr>
            <a:xfrm>
              <a:off x="-2638814" y="519899"/>
              <a:ext cx="1383391" cy="307431"/>
            </a:xfrm>
            <a:custGeom>
              <a:avLst/>
              <a:gdLst>
                <a:gd name="connsiteX0" fmla="*/ 0 w 1383391"/>
                <a:gd name="connsiteY0" fmla="*/ 0 h 307431"/>
                <a:gd name="connsiteX1" fmla="*/ 1383392 w 1383391"/>
                <a:gd name="connsiteY1" fmla="*/ 0 h 307431"/>
                <a:gd name="connsiteX2" fmla="*/ 1383392 w 1383391"/>
                <a:gd name="connsiteY2" fmla="*/ 307432 h 307431"/>
                <a:gd name="connsiteX3" fmla="*/ 0 w 1383391"/>
                <a:gd name="connsiteY3" fmla="*/ 307432 h 307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307431">
                  <a:moveTo>
                    <a:pt x="0" y="0"/>
                  </a:moveTo>
                  <a:lnTo>
                    <a:pt x="1383392" y="0"/>
                  </a:lnTo>
                  <a:lnTo>
                    <a:pt x="1383392" y="307432"/>
                  </a:lnTo>
                  <a:lnTo>
                    <a:pt x="0" y="307432"/>
                  </a:lnTo>
                  <a:close/>
                </a:path>
              </a:pathLst>
            </a:custGeom>
            <a:solidFill>
              <a:srgbClr val="000000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E417564-50C0-4683-A931-2193EA01237C}"/>
                </a:ext>
              </a:extLst>
            </p:cNvPr>
            <p:cNvSpPr/>
            <p:nvPr/>
          </p:nvSpPr>
          <p:spPr>
            <a:xfrm>
              <a:off x="-2638814" y="212518"/>
              <a:ext cx="1383391" cy="307431"/>
            </a:xfrm>
            <a:custGeom>
              <a:avLst/>
              <a:gdLst>
                <a:gd name="connsiteX0" fmla="*/ 0 w 1383391"/>
                <a:gd name="connsiteY0" fmla="*/ 0 h 307431"/>
                <a:gd name="connsiteX1" fmla="*/ 1383392 w 1383391"/>
                <a:gd name="connsiteY1" fmla="*/ 0 h 307431"/>
                <a:gd name="connsiteX2" fmla="*/ 1383392 w 1383391"/>
                <a:gd name="connsiteY2" fmla="*/ 307432 h 307431"/>
                <a:gd name="connsiteX3" fmla="*/ 0 w 1383391"/>
                <a:gd name="connsiteY3" fmla="*/ 307432 h 307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307431">
                  <a:moveTo>
                    <a:pt x="0" y="0"/>
                  </a:moveTo>
                  <a:lnTo>
                    <a:pt x="1383392" y="0"/>
                  </a:lnTo>
                  <a:lnTo>
                    <a:pt x="1383392" y="307432"/>
                  </a:lnTo>
                  <a:lnTo>
                    <a:pt x="0" y="307432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67CD12D-339C-46D1-86FC-CCCEAE7395F3}"/>
                </a:ext>
              </a:extLst>
            </p:cNvPr>
            <p:cNvSpPr/>
            <p:nvPr/>
          </p:nvSpPr>
          <p:spPr>
            <a:xfrm>
              <a:off x="-2021949" y="474091"/>
              <a:ext cx="21427" cy="18741"/>
            </a:xfrm>
            <a:custGeom>
              <a:avLst/>
              <a:gdLst>
                <a:gd name="connsiteX0" fmla="*/ 19581 w 21427"/>
                <a:gd name="connsiteY0" fmla="*/ 18145 h 18741"/>
                <a:gd name="connsiteX1" fmla="*/ 21405 w 21427"/>
                <a:gd name="connsiteY1" fmla="*/ 11559 h 18741"/>
                <a:gd name="connsiteX2" fmla="*/ 21051 w 21427"/>
                <a:gd name="connsiteY2" fmla="*/ 10343 h 18741"/>
                <a:gd name="connsiteX3" fmla="*/ 19835 w 21427"/>
                <a:gd name="connsiteY3" fmla="*/ 10343 h 18741"/>
                <a:gd name="connsiteX4" fmla="*/ 18011 w 21427"/>
                <a:gd name="connsiteY4" fmla="*/ 10951 h 18741"/>
                <a:gd name="connsiteX5" fmla="*/ 17227 w 21427"/>
                <a:gd name="connsiteY5" fmla="*/ 12401 h 18741"/>
                <a:gd name="connsiteX6" fmla="*/ 17251 w 21427"/>
                <a:gd name="connsiteY6" fmla="*/ 12471 h 18741"/>
                <a:gd name="connsiteX7" fmla="*/ 18467 w 21427"/>
                <a:gd name="connsiteY7" fmla="*/ 13282 h 18741"/>
                <a:gd name="connsiteX8" fmla="*/ 17605 w 21427"/>
                <a:gd name="connsiteY8" fmla="*/ 16575 h 18741"/>
                <a:gd name="connsiteX9" fmla="*/ 12539 w 21427"/>
                <a:gd name="connsiteY9" fmla="*/ 15258 h 18741"/>
                <a:gd name="connsiteX10" fmla="*/ 14312 w 21427"/>
                <a:gd name="connsiteY10" fmla="*/ 9836 h 18741"/>
                <a:gd name="connsiteX11" fmla="*/ 14008 w 21427"/>
                <a:gd name="connsiteY11" fmla="*/ 8621 h 18741"/>
                <a:gd name="connsiteX12" fmla="*/ 12792 w 21427"/>
                <a:gd name="connsiteY12" fmla="*/ 8317 h 18741"/>
                <a:gd name="connsiteX13" fmla="*/ 11019 w 21427"/>
                <a:gd name="connsiteY13" fmla="*/ 8823 h 18741"/>
                <a:gd name="connsiteX14" fmla="*/ 10208 w 21427"/>
                <a:gd name="connsiteY14" fmla="*/ 10292 h 18741"/>
                <a:gd name="connsiteX15" fmla="*/ 11323 w 21427"/>
                <a:gd name="connsiteY15" fmla="*/ 11204 h 18741"/>
                <a:gd name="connsiteX16" fmla="*/ 10208 w 21427"/>
                <a:gd name="connsiteY16" fmla="*/ 14650 h 18741"/>
                <a:gd name="connsiteX17" fmla="*/ 6763 w 21427"/>
                <a:gd name="connsiteY17" fmla="*/ 13687 h 18741"/>
                <a:gd name="connsiteX18" fmla="*/ 10462 w 21427"/>
                <a:gd name="connsiteY18" fmla="*/ 1578 h 18741"/>
                <a:gd name="connsiteX19" fmla="*/ 9663 w 21427"/>
                <a:gd name="connsiteY19" fmla="*/ 55 h 18741"/>
                <a:gd name="connsiteX20" fmla="*/ 8435 w 21427"/>
                <a:gd name="connsiteY20" fmla="*/ 362 h 18741"/>
                <a:gd name="connsiteX21" fmla="*/ 4230 w 21427"/>
                <a:gd name="connsiteY21" fmla="*/ 768 h 18741"/>
                <a:gd name="connsiteX22" fmla="*/ 2913 w 21427"/>
                <a:gd name="connsiteY22" fmla="*/ 1832 h 18741"/>
                <a:gd name="connsiteX23" fmla="*/ 3958 w 21427"/>
                <a:gd name="connsiteY23" fmla="*/ 3197 h 18741"/>
                <a:gd name="connsiteX24" fmla="*/ 3977 w 21427"/>
                <a:gd name="connsiteY24" fmla="*/ 3199 h 18741"/>
                <a:gd name="connsiteX25" fmla="*/ 7422 w 21427"/>
                <a:gd name="connsiteY25" fmla="*/ 3199 h 18741"/>
                <a:gd name="connsiteX26" fmla="*/ 5750 w 21427"/>
                <a:gd name="connsiteY26" fmla="*/ 8570 h 18741"/>
                <a:gd name="connsiteX27" fmla="*/ 76 w 21427"/>
                <a:gd name="connsiteY27" fmla="*/ 12218 h 18741"/>
                <a:gd name="connsiteX28" fmla="*/ 76 w 21427"/>
                <a:gd name="connsiteY28" fmla="*/ 13180 h 18741"/>
                <a:gd name="connsiteX29" fmla="*/ 785 w 21427"/>
                <a:gd name="connsiteY29" fmla="*/ 13839 h 18741"/>
                <a:gd name="connsiteX30" fmla="*/ 4939 w 21427"/>
                <a:gd name="connsiteY30" fmla="*/ 15308 h 18741"/>
                <a:gd name="connsiteX31" fmla="*/ 4939 w 21427"/>
                <a:gd name="connsiteY31" fmla="*/ 15308 h 18741"/>
                <a:gd name="connsiteX32" fmla="*/ 10006 w 21427"/>
                <a:gd name="connsiteY32" fmla="*/ 16727 h 18741"/>
                <a:gd name="connsiteX33" fmla="*/ 10411 w 21427"/>
                <a:gd name="connsiteY33" fmla="*/ 16727 h 18741"/>
                <a:gd name="connsiteX34" fmla="*/ 10816 w 21427"/>
                <a:gd name="connsiteY34" fmla="*/ 16727 h 18741"/>
                <a:gd name="connsiteX35" fmla="*/ 10816 w 21427"/>
                <a:gd name="connsiteY35" fmla="*/ 16727 h 18741"/>
                <a:gd name="connsiteX36" fmla="*/ 17707 w 21427"/>
                <a:gd name="connsiteY36" fmla="*/ 18601 h 18741"/>
                <a:gd name="connsiteX37" fmla="*/ 18011 w 21427"/>
                <a:gd name="connsiteY37" fmla="*/ 18601 h 18741"/>
                <a:gd name="connsiteX38" fmla="*/ 19581 w 21427"/>
                <a:gd name="connsiteY38" fmla="*/ 18145 h 18741"/>
                <a:gd name="connsiteX39" fmla="*/ 4382 w 21427"/>
                <a:gd name="connsiteY39" fmla="*/ 12724 h 18741"/>
                <a:gd name="connsiteX40" fmla="*/ 2963 w 21427"/>
                <a:gd name="connsiteY40" fmla="*/ 12268 h 18741"/>
                <a:gd name="connsiteX41" fmla="*/ 4838 w 21427"/>
                <a:gd name="connsiteY41" fmla="*/ 11255 h 18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1427" h="18741">
                  <a:moveTo>
                    <a:pt x="19581" y="18145"/>
                  </a:moveTo>
                  <a:lnTo>
                    <a:pt x="21405" y="11559"/>
                  </a:lnTo>
                  <a:cubicBezTo>
                    <a:pt x="21485" y="11121"/>
                    <a:pt x="21353" y="10670"/>
                    <a:pt x="21051" y="10343"/>
                  </a:cubicBezTo>
                  <a:cubicBezTo>
                    <a:pt x="20677" y="10115"/>
                    <a:pt x="20208" y="10115"/>
                    <a:pt x="19835" y="10343"/>
                  </a:cubicBezTo>
                  <a:lnTo>
                    <a:pt x="18011" y="10951"/>
                  </a:lnTo>
                  <a:cubicBezTo>
                    <a:pt x="17394" y="11135"/>
                    <a:pt x="17043" y="11784"/>
                    <a:pt x="17227" y="12401"/>
                  </a:cubicBezTo>
                  <a:cubicBezTo>
                    <a:pt x="17234" y="12425"/>
                    <a:pt x="17242" y="12448"/>
                    <a:pt x="17251" y="12471"/>
                  </a:cubicBezTo>
                  <a:cubicBezTo>
                    <a:pt x="17415" y="12993"/>
                    <a:pt x="17921" y="13331"/>
                    <a:pt x="18467" y="13282"/>
                  </a:cubicBezTo>
                  <a:lnTo>
                    <a:pt x="17605" y="16575"/>
                  </a:lnTo>
                  <a:lnTo>
                    <a:pt x="12539" y="15258"/>
                  </a:lnTo>
                  <a:lnTo>
                    <a:pt x="14312" y="9836"/>
                  </a:lnTo>
                  <a:cubicBezTo>
                    <a:pt x="14414" y="9406"/>
                    <a:pt x="14300" y="8953"/>
                    <a:pt x="14008" y="8621"/>
                  </a:cubicBezTo>
                  <a:cubicBezTo>
                    <a:pt x="13680" y="8321"/>
                    <a:pt x="13223" y="8206"/>
                    <a:pt x="12792" y="8317"/>
                  </a:cubicBezTo>
                  <a:lnTo>
                    <a:pt x="11019" y="8823"/>
                  </a:lnTo>
                  <a:cubicBezTo>
                    <a:pt x="10400" y="9018"/>
                    <a:pt x="10043" y="9665"/>
                    <a:pt x="10208" y="10292"/>
                  </a:cubicBezTo>
                  <a:cubicBezTo>
                    <a:pt x="10341" y="10807"/>
                    <a:pt x="10792" y="11177"/>
                    <a:pt x="11323" y="11204"/>
                  </a:cubicBezTo>
                  <a:lnTo>
                    <a:pt x="10208" y="14650"/>
                  </a:lnTo>
                  <a:lnTo>
                    <a:pt x="6763" y="13687"/>
                  </a:lnTo>
                  <a:lnTo>
                    <a:pt x="10462" y="1578"/>
                  </a:lnTo>
                  <a:cubicBezTo>
                    <a:pt x="10662" y="937"/>
                    <a:pt x="10304" y="255"/>
                    <a:pt x="9663" y="55"/>
                  </a:cubicBezTo>
                  <a:cubicBezTo>
                    <a:pt x="9229" y="-80"/>
                    <a:pt x="8755" y="38"/>
                    <a:pt x="8435" y="362"/>
                  </a:cubicBezTo>
                  <a:cubicBezTo>
                    <a:pt x="7097" y="881"/>
                    <a:pt x="5642" y="1022"/>
                    <a:pt x="4230" y="768"/>
                  </a:cubicBezTo>
                  <a:cubicBezTo>
                    <a:pt x="3576" y="708"/>
                    <a:pt x="2992" y="1179"/>
                    <a:pt x="2913" y="1832"/>
                  </a:cubicBezTo>
                  <a:cubicBezTo>
                    <a:pt x="2824" y="2497"/>
                    <a:pt x="3292" y="3109"/>
                    <a:pt x="3958" y="3197"/>
                  </a:cubicBezTo>
                  <a:cubicBezTo>
                    <a:pt x="3964" y="3198"/>
                    <a:pt x="3971" y="3199"/>
                    <a:pt x="3977" y="3199"/>
                  </a:cubicBezTo>
                  <a:cubicBezTo>
                    <a:pt x="5123" y="3304"/>
                    <a:pt x="6276" y="3304"/>
                    <a:pt x="7422" y="3199"/>
                  </a:cubicBezTo>
                  <a:lnTo>
                    <a:pt x="5750" y="8570"/>
                  </a:lnTo>
                  <a:cubicBezTo>
                    <a:pt x="3335" y="8662"/>
                    <a:pt x="1162" y="10060"/>
                    <a:pt x="76" y="12218"/>
                  </a:cubicBezTo>
                  <a:cubicBezTo>
                    <a:pt x="-25" y="12531"/>
                    <a:pt x="-25" y="12867"/>
                    <a:pt x="76" y="13180"/>
                  </a:cubicBezTo>
                  <a:cubicBezTo>
                    <a:pt x="215" y="13485"/>
                    <a:pt x="471" y="13722"/>
                    <a:pt x="785" y="13839"/>
                  </a:cubicBezTo>
                  <a:lnTo>
                    <a:pt x="4939" y="15308"/>
                  </a:lnTo>
                  <a:lnTo>
                    <a:pt x="4939" y="15308"/>
                  </a:lnTo>
                  <a:lnTo>
                    <a:pt x="10006" y="16727"/>
                  </a:lnTo>
                  <a:lnTo>
                    <a:pt x="10411" y="16727"/>
                  </a:lnTo>
                  <a:lnTo>
                    <a:pt x="10816" y="16727"/>
                  </a:lnTo>
                  <a:lnTo>
                    <a:pt x="10816" y="16727"/>
                  </a:lnTo>
                  <a:lnTo>
                    <a:pt x="17707" y="18601"/>
                  </a:lnTo>
                  <a:lnTo>
                    <a:pt x="18011" y="18601"/>
                  </a:lnTo>
                  <a:cubicBezTo>
                    <a:pt x="18571" y="18904"/>
                    <a:pt x="19270" y="18701"/>
                    <a:pt x="19581" y="18145"/>
                  </a:cubicBezTo>
                  <a:close/>
                  <a:moveTo>
                    <a:pt x="4382" y="12724"/>
                  </a:moveTo>
                  <a:lnTo>
                    <a:pt x="2963" y="12268"/>
                  </a:lnTo>
                  <a:cubicBezTo>
                    <a:pt x="3470" y="11746"/>
                    <a:pt x="4124" y="11393"/>
                    <a:pt x="4838" y="11255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84C45A8-7B62-4EEA-8651-915BFD889D92}"/>
                </a:ext>
              </a:extLst>
            </p:cNvPr>
            <p:cNvSpPr/>
            <p:nvPr/>
          </p:nvSpPr>
          <p:spPr>
            <a:xfrm>
              <a:off x="-2003556" y="480775"/>
              <a:ext cx="27914" cy="19470"/>
            </a:xfrm>
            <a:custGeom>
              <a:avLst/>
              <a:gdLst>
                <a:gd name="connsiteX0" fmla="*/ 26065 w 27914"/>
                <a:gd name="connsiteY0" fmla="*/ 467 h 19470"/>
                <a:gd name="connsiteX1" fmla="*/ 25203 w 27914"/>
                <a:gd name="connsiteY1" fmla="*/ 1329 h 19470"/>
                <a:gd name="connsiteX2" fmla="*/ 24798 w 27914"/>
                <a:gd name="connsiteY2" fmla="*/ 2190 h 19470"/>
                <a:gd name="connsiteX3" fmla="*/ 24798 w 27914"/>
                <a:gd name="connsiteY3" fmla="*/ 7611 h 19470"/>
                <a:gd name="connsiteX4" fmla="*/ 22822 w 27914"/>
                <a:gd name="connsiteY4" fmla="*/ 16832 h 19470"/>
                <a:gd name="connsiteX5" fmla="*/ 21961 w 27914"/>
                <a:gd name="connsiteY5" fmla="*/ 17237 h 19470"/>
                <a:gd name="connsiteX6" fmla="*/ 21961 w 27914"/>
                <a:gd name="connsiteY6" fmla="*/ 15160 h 19470"/>
                <a:gd name="connsiteX7" fmla="*/ 21961 w 27914"/>
                <a:gd name="connsiteY7" fmla="*/ 14501 h 19470"/>
                <a:gd name="connsiteX8" fmla="*/ 19377 w 27914"/>
                <a:gd name="connsiteY8" fmla="*/ 13083 h 19470"/>
                <a:gd name="connsiteX9" fmla="*/ 19276 w 27914"/>
                <a:gd name="connsiteY9" fmla="*/ 13083 h 19470"/>
                <a:gd name="connsiteX10" fmla="*/ 18566 w 27914"/>
                <a:gd name="connsiteY10" fmla="*/ 11360 h 19470"/>
                <a:gd name="connsiteX11" fmla="*/ 21404 w 27914"/>
                <a:gd name="connsiteY11" fmla="*/ 10398 h 19470"/>
                <a:gd name="connsiteX12" fmla="*/ 22163 w 27914"/>
                <a:gd name="connsiteY12" fmla="*/ 9587 h 19470"/>
                <a:gd name="connsiteX13" fmla="*/ 21910 w 27914"/>
                <a:gd name="connsiteY13" fmla="*/ 8472 h 19470"/>
                <a:gd name="connsiteX14" fmla="*/ 20086 w 27914"/>
                <a:gd name="connsiteY14" fmla="*/ 6446 h 19470"/>
                <a:gd name="connsiteX15" fmla="*/ 18110 w 27914"/>
                <a:gd name="connsiteY15" fmla="*/ 3811 h 19470"/>
                <a:gd name="connsiteX16" fmla="*/ 17249 w 27914"/>
                <a:gd name="connsiteY16" fmla="*/ 3355 h 19470"/>
                <a:gd name="connsiteX17" fmla="*/ 16286 w 27914"/>
                <a:gd name="connsiteY17" fmla="*/ 3710 h 19470"/>
                <a:gd name="connsiteX18" fmla="*/ 14969 w 27914"/>
                <a:gd name="connsiteY18" fmla="*/ 5027 h 19470"/>
                <a:gd name="connsiteX19" fmla="*/ 11980 w 27914"/>
                <a:gd name="connsiteY19" fmla="*/ 6750 h 19470"/>
                <a:gd name="connsiteX20" fmla="*/ 11321 w 27914"/>
                <a:gd name="connsiteY20" fmla="*/ 7712 h 19470"/>
                <a:gd name="connsiteX21" fmla="*/ 11727 w 27914"/>
                <a:gd name="connsiteY21" fmla="*/ 8776 h 19470"/>
                <a:gd name="connsiteX22" fmla="*/ 14209 w 27914"/>
                <a:gd name="connsiteY22" fmla="*/ 10904 h 19470"/>
                <a:gd name="connsiteX23" fmla="*/ 12385 w 27914"/>
                <a:gd name="connsiteY23" fmla="*/ 12120 h 19470"/>
                <a:gd name="connsiteX24" fmla="*/ 7978 w 27914"/>
                <a:gd name="connsiteY24" fmla="*/ 11462 h 19470"/>
                <a:gd name="connsiteX25" fmla="*/ 7218 w 27914"/>
                <a:gd name="connsiteY25" fmla="*/ 7054 h 19470"/>
                <a:gd name="connsiteX26" fmla="*/ 5596 w 27914"/>
                <a:gd name="connsiteY26" fmla="*/ 6547 h 19470"/>
                <a:gd name="connsiteX27" fmla="*/ 5039 w 27914"/>
                <a:gd name="connsiteY27" fmla="*/ 8168 h 19470"/>
                <a:gd name="connsiteX28" fmla="*/ 5039 w 27914"/>
                <a:gd name="connsiteY28" fmla="*/ 12323 h 19470"/>
                <a:gd name="connsiteX29" fmla="*/ 935 w 27914"/>
                <a:gd name="connsiteY29" fmla="*/ 14907 h 19470"/>
                <a:gd name="connsiteX30" fmla="*/ 23 w 27914"/>
                <a:gd name="connsiteY30" fmla="*/ 16325 h 19470"/>
                <a:gd name="connsiteX31" fmla="*/ 1189 w 27914"/>
                <a:gd name="connsiteY31" fmla="*/ 17288 h 19470"/>
                <a:gd name="connsiteX32" fmla="*/ 1442 w 27914"/>
                <a:gd name="connsiteY32" fmla="*/ 17288 h 19470"/>
                <a:gd name="connsiteX33" fmla="*/ 7015 w 27914"/>
                <a:gd name="connsiteY33" fmla="*/ 13792 h 19470"/>
                <a:gd name="connsiteX34" fmla="*/ 12537 w 27914"/>
                <a:gd name="connsiteY34" fmla="*/ 14501 h 19470"/>
                <a:gd name="connsiteX35" fmla="*/ 16033 w 27914"/>
                <a:gd name="connsiteY35" fmla="*/ 12222 h 19470"/>
                <a:gd name="connsiteX36" fmla="*/ 16641 w 27914"/>
                <a:gd name="connsiteY36" fmla="*/ 13387 h 19470"/>
                <a:gd name="connsiteX37" fmla="*/ 19377 w 27914"/>
                <a:gd name="connsiteY37" fmla="*/ 15515 h 19470"/>
                <a:gd name="connsiteX38" fmla="*/ 19377 w 27914"/>
                <a:gd name="connsiteY38" fmla="*/ 15515 h 19470"/>
                <a:gd name="connsiteX39" fmla="*/ 20542 w 27914"/>
                <a:gd name="connsiteY39" fmla="*/ 19416 h 19470"/>
                <a:gd name="connsiteX40" fmla="*/ 21758 w 27914"/>
                <a:gd name="connsiteY40" fmla="*/ 19416 h 19470"/>
                <a:gd name="connsiteX41" fmla="*/ 24342 w 27914"/>
                <a:gd name="connsiteY41" fmla="*/ 18352 h 19470"/>
                <a:gd name="connsiteX42" fmla="*/ 27027 w 27914"/>
                <a:gd name="connsiteY42" fmla="*/ 7408 h 19470"/>
                <a:gd name="connsiteX43" fmla="*/ 27027 w 27914"/>
                <a:gd name="connsiteY43" fmla="*/ 2342 h 19470"/>
                <a:gd name="connsiteX44" fmla="*/ 27534 w 27914"/>
                <a:gd name="connsiteY44" fmla="*/ 1835 h 19470"/>
                <a:gd name="connsiteX45" fmla="*/ 27610 w 27914"/>
                <a:gd name="connsiteY45" fmla="*/ 189 h 19470"/>
                <a:gd name="connsiteX46" fmla="*/ 27534 w 27914"/>
                <a:gd name="connsiteY46" fmla="*/ 113 h 19470"/>
                <a:gd name="connsiteX47" fmla="*/ 26065 w 27914"/>
                <a:gd name="connsiteY47" fmla="*/ 467 h 19470"/>
                <a:gd name="connsiteX48" fmla="*/ 16236 w 27914"/>
                <a:gd name="connsiteY48" fmla="*/ 9536 h 19470"/>
                <a:gd name="connsiteX49" fmla="*/ 14564 w 27914"/>
                <a:gd name="connsiteY49" fmla="*/ 8067 h 19470"/>
                <a:gd name="connsiteX50" fmla="*/ 16590 w 27914"/>
                <a:gd name="connsiteY50" fmla="*/ 6750 h 19470"/>
                <a:gd name="connsiteX51" fmla="*/ 16945 w 27914"/>
                <a:gd name="connsiteY51" fmla="*/ 6395 h 19470"/>
                <a:gd name="connsiteX52" fmla="*/ 18110 w 27914"/>
                <a:gd name="connsiteY52" fmla="*/ 7915 h 19470"/>
                <a:gd name="connsiteX53" fmla="*/ 18110 w 27914"/>
                <a:gd name="connsiteY53" fmla="*/ 7915 h 19470"/>
                <a:gd name="connsiteX54" fmla="*/ 18718 w 27914"/>
                <a:gd name="connsiteY54" fmla="*/ 8574 h 19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27914" h="19470">
                  <a:moveTo>
                    <a:pt x="26065" y="467"/>
                  </a:moveTo>
                  <a:lnTo>
                    <a:pt x="25203" y="1329"/>
                  </a:lnTo>
                  <a:cubicBezTo>
                    <a:pt x="24961" y="1552"/>
                    <a:pt x="24816" y="1861"/>
                    <a:pt x="24798" y="2190"/>
                  </a:cubicBezTo>
                  <a:lnTo>
                    <a:pt x="24798" y="7611"/>
                  </a:lnTo>
                  <a:cubicBezTo>
                    <a:pt x="24855" y="10796"/>
                    <a:pt x="24179" y="13950"/>
                    <a:pt x="22822" y="16832"/>
                  </a:cubicBezTo>
                  <a:cubicBezTo>
                    <a:pt x="22593" y="17066"/>
                    <a:pt x="22287" y="17210"/>
                    <a:pt x="21961" y="17237"/>
                  </a:cubicBezTo>
                  <a:cubicBezTo>
                    <a:pt x="21870" y="16548"/>
                    <a:pt x="21870" y="15850"/>
                    <a:pt x="21961" y="15160"/>
                  </a:cubicBezTo>
                  <a:cubicBezTo>
                    <a:pt x="21986" y="14941"/>
                    <a:pt x="21986" y="14720"/>
                    <a:pt x="21961" y="14501"/>
                  </a:cubicBezTo>
                  <a:cubicBezTo>
                    <a:pt x="21480" y="13535"/>
                    <a:pt x="20450" y="12970"/>
                    <a:pt x="19377" y="13083"/>
                  </a:cubicBezTo>
                  <a:lnTo>
                    <a:pt x="19276" y="13083"/>
                  </a:lnTo>
                  <a:cubicBezTo>
                    <a:pt x="19148" y="12470"/>
                    <a:pt x="18907" y="11886"/>
                    <a:pt x="18566" y="11360"/>
                  </a:cubicBezTo>
                  <a:lnTo>
                    <a:pt x="21404" y="10398"/>
                  </a:lnTo>
                  <a:cubicBezTo>
                    <a:pt x="21773" y="10266"/>
                    <a:pt x="22056" y="9964"/>
                    <a:pt x="22163" y="9587"/>
                  </a:cubicBezTo>
                  <a:cubicBezTo>
                    <a:pt x="22261" y="9196"/>
                    <a:pt x="22167" y="8783"/>
                    <a:pt x="21910" y="8472"/>
                  </a:cubicBezTo>
                  <a:lnTo>
                    <a:pt x="20086" y="6446"/>
                  </a:lnTo>
                  <a:lnTo>
                    <a:pt x="18110" y="3811"/>
                  </a:lnTo>
                  <a:cubicBezTo>
                    <a:pt x="17908" y="3535"/>
                    <a:pt x="17591" y="3367"/>
                    <a:pt x="17249" y="3355"/>
                  </a:cubicBezTo>
                  <a:cubicBezTo>
                    <a:pt x="16891" y="3318"/>
                    <a:pt x="16535" y="3449"/>
                    <a:pt x="16286" y="3710"/>
                  </a:cubicBezTo>
                  <a:lnTo>
                    <a:pt x="14969" y="5027"/>
                  </a:lnTo>
                  <a:cubicBezTo>
                    <a:pt x="14020" y="5679"/>
                    <a:pt x="13020" y="6255"/>
                    <a:pt x="11980" y="6750"/>
                  </a:cubicBezTo>
                  <a:cubicBezTo>
                    <a:pt x="11623" y="6951"/>
                    <a:pt x="11379" y="7307"/>
                    <a:pt x="11321" y="7712"/>
                  </a:cubicBezTo>
                  <a:cubicBezTo>
                    <a:pt x="11272" y="8112"/>
                    <a:pt x="11424" y="8511"/>
                    <a:pt x="11727" y="8776"/>
                  </a:cubicBezTo>
                  <a:lnTo>
                    <a:pt x="14209" y="10904"/>
                  </a:lnTo>
                  <a:cubicBezTo>
                    <a:pt x="13750" y="11497"/>
                    <a:pt x="13109" y="11924"/>
                    <a:pt x="12385" y="12120"/>
                  </a:cubicBezTo>
                  <a:cubicBezTo>
                    <a:pt x="10890" y="12147"/>
                    <a:pt x="9400" y="11924"/>
                    <a:pt x="7978" y="11462"/>
                  </a:cubicBezTo>
                  <a:cubicBezTo>
                    <a:pt x="8096" y="9952"/>
                    <a:pt x="7835" y="8437"/>
                    <a:pt x="7218" y="7054"/>
                  </a:cubicBezTo>
                  <a:cubicBezTo>
                    <a:pt x="6904" y="6473"/>
                    <a:pt x="6185" y="6248"/>
                    <a:pt x="5596" y="6547"/>
                  </a:cubicBezTo>
                  <a:cubicBezTo>
                    <a:pt x="4996" y="6842"/>
                    <a:pt x="4747" y="7567"/>
                    <a:pt x="5039" y="8168"/>
                  </a:cubicBezTo>
                  <a:cubicBezTo>
                    <a:pt x="5633" y="9490"/>
                    <a:pt x="5633" y="11002"/>
                    <a:pt x="5039" y="12323"/>
                  </a:cubicBezTo>
                  <a:cubicBezTo>
                    <a:pt x="4148" y="13776"/>
                    <a:pt x="2631" y="14732"/>
                    <a:pt x="935" y="14907"/>
                  </a:cubicBezTo>
                  <a:cubicBezTo>
                    <a:pt x="299" y="15058"/>
                    <a:pt x="-103" y="15684"/>
                    <a:pt x="23" y="16325"/>
                  </a:cubicBezTo>
                  <a:cubicBezTo>
                    <a:pt x="123" y="16889"/>
                    <a:pt x="616" y="17297"/>
                    <a:pt x="1189" y="17288"/>
                  </a:cubicBezTo>
                  <a:lnTo>
                    <a:pt x="1442" y="17288"/>
                  </a:lnTo>
                  <a:cubicBezTo>
                    <a:pt x="3712" y="16969"/>
                    <a:pt x="5739" y="15697"/>
                    <a:pt x="7015" y="13792"/>
                  </a:cubicBezTo>
                  <a:cubicBezTo>
                    <a:pt x="8799" y="14352"/>
                    <a:pt x="10669" y="14593"/>
                    <a:pt x="12537" y="14501"/>
                  </a:cubicBezTo>
                  <a:cubicBezTo>
                    <a:pt x="13954" y="14223"/>
                    <a:pt x="15207" y="13406"/>
                    <a:pt x="16033" y="12222"/>
                  </a:cubicBezTo>
                  <a:cubicBezTo>
                    <a:pt x="16316" y="12563"/>
                    <a:pt x="16523" y="12960"/>
                    <a:pt x="16641" y="13387"/>
                  </a:cubicBezTo>
                  <a:cubicBezTo>
                    <a:pt x="16641" y="15515"/>
                    <a:pt x="18212" y="15515"/>
                    <a:pt x="19377" y="15515"/>
                  </a:cubicBezTo>
                  <a:lnTo>
                    <a:pt x="19377" y="15515"/>
                  </a:lnTo>
                  <a:cubicBezTo>
                    <a:pt x="19377" y="17136"/>
                    <a:pt x="19377" y="18909"/>
                    <a:pt x="20542" y="19416"/>
                  </a:cubicBezTo>
                  <a:cubicBezTo>
                    <a:pt x="20944" y="19489"/>
                    <a:pt x="21356" y="19489"/>
                    <a:pt x="21758" y="19416"/>
                  </a:cubicBezTo>
                  <a:cubicBezTo>
                    <a:pt x="22726" y="19413"/>
                    <a:pt x="23653" y="19031"/>
                    <a:pt x="24342" y="18352"/>
                  </a:cubicBezTo>
                  <a:cubicBezTo>
                    <a:pt x="26228" y="15021"/>
                    <a:pt x="27158" y="11234"/>
                    <a:pt x="27027" y="7408"/>
                  </a:cubicBezTo>
                  <a:lnTo>
                    <a:pt x="27027" y="2342"/>
                  </a:lnTo>
                  <a:lnTo>
                    <a:pt x="27534" y="1835"/>
                  </a:lnTo>
                  <a:cubicBezTo>
                    <a:pt x="28010" y="1402"/>
                    <a:pt x="28044" y="665"/>
                    <a:pt x="27610" y="189"/>
                  </a:cubicBezTo>
                  <a:cubicBezTo>
                    <a:pt x="27586" y="163"/>
                    <a:pt x="27561" y="137"/>
                    <a:pt x="27534" y="113"/>
                  </a:cubicBezTo>
                  <a:cubicBezTo>
                    <a:pt x="27021" y="-125"/>
                    <a:pt x="26413" y="22"/>
                    <a:pt x="26065" y="467"/>
                  </a:cubicBezTo>
                  <a:close/>
                  <a:moveTo>
                    <a:pt x="16236" y="9536"/>
                  </a:moveTo>
                  <a:lnTo>
                    <a:pt x="14564" y="8067"/>
                  </a:lnTo>
                  <a:cubicBezTo>
                    <a:pt x="15279" y="7693"/>
                    <a:pt x="15958" y="7252"/>
                    <a:pt x="16590" y="6750"/>
                  </a:cubicBezTo>
                  <a:lnTo>
                    <a:pt x="16945" y="6395"/>
                  </a:lnTo>
                  <a:lnTo>
                    <a:pt x="18110" y="7915"/>
                  </a:lnTo>
                  <a:lnTo>
                    <a:pt x="18110" y="7915"/>
                  </a:lnTo>
                  <a:lnTo>
                    <a:pt x="18718" y="8574"/>
                  </a:ln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CB0BDE3-AB75-493C-8704-3D604C899B58}"/>
                </a:ext>
              </a:extLst>
            </p:cNvPr>
            <p:cNvSpPr/>
            <p:nvPr/>
          </p:nvSpPr>
          <p:spPr>
            <a:xfrm>
              <a:off x="-1974858" y="481422"/>
              <a:ext cx="4868" cy="16245"/>
            </a:xfrm>
            <a:custGeom>
              <a:avLst/>
              <a:gdLst>
                <a:gd name="connsiteX0" fmla="*/ 2484 w 4868"/>
                <a:gd name="connsiteY0" fmla="*/ 15121 h 16245"/>
                <a:gd name="connsiteX1" fmla="*/ 3295 w 4868"/>
                <a:gd name="connsiteY1" fmla="*/ 3823 h 16245"/>
                <a:gd name="connsiteX2" fmla="*/ 4510 w 4868"/>
                <a:gd name="connsiteY2" fmla="*/ 3519 h 16245"/>
                <a:gd name="connsiteX3" fmla="*/ 4513 w 4868"/>
                <a:gd name="connsiteY3" fmla="*/ 1799 h 16245"/>
                <a:gd name="connsiteX4" fmla="*/ 4510 w 4868"/>
                <a:gd name="connsiteY4" fmla="*/ 1796 h 16245"/>
                <a:gd name="connsiteX5" fmla="*/ 3092 w 4868"/>
                <a:gd name="connsiteY5" fmla="*/ 378 h 16245"/>
                <a:gd name="connsiteX6" fmla="*/ 1825 w 4868"/>
                <a:gd name="connsiteY6" fmla="*/ 74 h 16245"/>
                <a:gd name="connsiteX7" fmla="*/ 1015 w 4868"/>
                <a:gd name="connsiteY7" fmla="*/ 1087 h 16245"/>
                <a:gd name="connsiteX8" fmla="*/ 1 w 4868"/>
                <a:gd name="connsiteY8" fmla="*/ 14969 h 16245"/>
                <a:gd name="connsiteX9" fmla="*/ 1116 w 4868"/>
                <a:gd name="connsiteY9" fmla="*/ 16236 h 16245"/>
                <a:gd name="connsiteX10" fmla="*/ 1116 w 4868"/>
                <a:gd name="connsiteY10" fmla="*/ 16236 h 16245"/>
                <a:gd name="connsiteX11" fmla="*/ 2477 w 4868"/>
                <a:gd name="connsiteY11" fmla="*/ 15185 h 16245"/>
                <a:gd name="connsiteX12" fmla="*/ 2484 w 4868"/>
                <a:gd name="connsiteY12" fmla="*/ 15121 h 16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68" h="16245">
                  <a:moveTo>
                    <a:pt x="2484" y="15121"/>
                  </a:moveTo>
                  <a:lnTo>
                    <a:pt x="3295" y="3823"/>
                  </a:lnTo>
                  <a:cubicBezTo>
                    <a:pt x="3725" y="3924"/>
                    <a:pt x="4178" y="3811"/>
                    <a:pt x="4510" y="3519"/>
                  </a:cubicBezTo>
                  <a:cubicBezTo>
                    <a:pt x="4986" y="3045"/>
                    <a:pt x="4987" y="2275"/>
                    <a:pt x="4513" y="1799"/>
                  </a:cubicBezTo>
                  <a:cubicBezTo>
                    <a:pt x="4512" y="1798"/>
                    <a:pt x="4511" y="1797"/>
                    <a:pt x="4510" y="1796"/>
                  </a:cubicBezTo>
                  <a:lnTo>
                    <a:pt x="3092" y="378"/>
                  </a:lnTo>
                  <a:cubicBezTo>
                    <a:pt x="2771" y="28"/>
                    <a:pt x="2270" y="-92"/>
                    <a:pt x="1825" y="74"/>
                  </a:cubicBezTo>
                  <a:cubicBezTo>
                    <a:pt x="1382" y="227"/>
                    <a:pt x="1067" y="621"/>
                    <a:pt x="1015" y="1087"/>
                  </a:cubicBezTo>
                  <a:lnTo>
                    <a:pt x="1" y="14969"/>
                  </a:lnTo>
                  <a:cubicBezTo>
                    <a:pt x="-28" y="15622"/>
                    <a:pt x="464" y="16182"/>
                    <a:pt x="1116" y="16236"/>
                  </a:cubicBezTo>
                  <a:lnTo>
                    <a:pt x="1116" y="16236"/>
                  </a:lnTo>
                  <a:cubicBezTo>
                    <a:pt x="1782" y="16322"/>
                    <a:pt x="2391" y="15851"/>
                    <a:pt x="2477" y="15185"/>
                  </a:cubicBezTo>
                  <a:cubicBezTo>
                    <a:pt x="2480" y="15164"/>
                    <a:pt x="2482" y="15142"/>
                    <a:pt x="2484" y="15121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CB229-B62A-4CEC-84F7-AEB20C532F1A}"/>
                </a:ext>
              </a:extLst>
            </p:cNvPr>
            <p:cNvSpPr/>
            <p:nvPr/>
          </p:nvSpPr>
          <p:spPr>
            <a:xfrm>
              <a:off x="-1973336" y="489741"/>
              <a:ext cx="37163" cy="14199"/>
            </a:xfrm>
            <a:custGeom>
              <a:avLst/>
              <a:gdLst>
                <a:gd name="connsiteX0" fmla="*/ 35566 w 37163"/>
                <a:gd name="connsiteY0" fmla="*/ 3053 h 14199"/>
                <a:gd name="connsiteX1" fmla="*/ 34958 w 37163"/>
                <a:gd name="connsiteY1" fmla="*/ 2293 h 14199"/>
                <a:gd name="connsiteX2" fmla="*/ 33996 w 37163"/>
                <a:gd name="connsiteY2" fmla="*/ 2293 h 14199"/>
                <a:gd name="connsiteX3" fmla="*/ 28929 w 37163"/>
                <a:gd name="connsiteY3" fmla="*/ 7359 h 14199"/>
                <a:gd name="connsiteX4" fmla="*/ 27207 w 37163"/>
                <a:gd name="connsiteY4" fmla="*/ 7359 h 14199"/>
                <a:gd name="connsiteX5" fmla="*/ 26903 w 37163"/>
                <a:gd name="connsiteY5" fmla="*/ 4167 h 14199"/>
                <a:gd name="connsiteX6" fmla="*/ 25737 w 37163"/>
                <a:gd name="connsiteY6" fmla="*/ 3053 h 14199"/>
                <a:gd name="connsiteX7" fmla="*/ 13527 w 37163"/>
                <a:gd name="connsiteY7" fmla="*/ 2495 h 14199"/>
                <a:gd name="connsiteX8" fmla="*/ 13527 w 37163"/>
                <a:gd name="connsiteY8" fmla="*/ 1127 h 14199"/>
                <a:gd name="connsiteX9" fmla="*/ 13021 w 37163"/>
                <a:gd name="connsiteY9" fmla="*/ 114 h 14199"/>
                <a:gd name="connsiteX10" fmla="*/ 11906 w 37163"/>
                <a:gd name="connsiteY10" fmla="*/ 114 h 14199"/>
                <a:gd name="connsiteX11" fmla="*/ 10488 w 37163"/>
                <a:gd name="connsiteY11" fmla="*/ 621 h 14199"/>
                <a:gd name="connsiteX12" fmla="*/ 9704 w 37163"/>
                <a:gd name="connsiteY12" fmla="*/ 2071 h 14199"/>
                <a:gd name="connsiteX13" fmla="*/ 9728 w 37163"/>
                <a:gd name="connsiteY13" fmla="*/ 2141 h 14199"/>
                <a:gd name="connsiteX14" fmla="*/ 11096 w 37163"/>
                <a:gd name="connsiteY14" fmla="*/ 2951 h 14199"/>
                <a:gd name="connsiteX15" fmla="*/ 11096 w 37163"/>
                <a:gd name="connsiteY15" fmla="*/ 6954 h 14199"/>
                <a:gd name="connsiteX16" fmla="*/ 9018 w 37163"/>
                <a:gd name="connsiteY16" fmla="*/ 6954 h 14199"/>
                <a:gd name="connsiteX17" fmla="*/ 6992 w 37163"/>
                <a:gd name="connsiteY17" fmla="*/ 3154 h 14199"/>
                <a:gd name="connsiteX18" fmla="*/ 5320 w 37163"/>
                <a:gd name="connsiteY18" fmla="*/ 3154 h 14199"/>
                <a:gd name="connsiteX19" fmla="*/ 5317 w 37163"/>
                <a:gd name="connsiteY19" fmla="*/ 4873 h 14199"/>
                <a:gd name="connsiteX20" fmla="*/ 5320 w 37163"/>
                <a:gd name="connsiteY20" fmla="*/ 4876 h 14199"/>
                <a:gd name="connsiteX21" fmla="*/ 6738 w 37163"/>
                <a:gd name="connsiteY21" fmla="*/ 8879 h 14199"/>
                <a:gd name="connsiteX22" fmla="*/ 1216 w 37163"/>
                <a:gd name="connsiteY22" fmla="*/ 11514 h 14199"/>
                <a:gd name="connsiteX23" fmla="*/ 0 w 37163"/>
                <a:gd name="connsiteY23" fmla="*/ 12729 h 14199"/>
                <a:gd name="connsiteX24" fmla="*/ 1216 w 37163"/>
                <a:gd name="connsiteY24" fmla="*/ 13945 h 14199"/>
                <a:gd name="connsiteX25" fmla="*/ 1216 w 37163"/>
                <a:gd name="connsiteY25" fmla="*/ 13945 h 14199"/>
                <a:gd name="connsiteX26" fmla="*/ 8664 w 37163"/>
                <a:gd name="connsiteY26" fmla="*/ 9740 h 14199"/>
                <a:gd name="connsiteX27" fmla="*/ 20012 w 37163"/>
                <a:gd name="connsiteY27" fmla="*/ 10551 h 14199"/>
                <a:gd name="connsiteX28" fmla="*/ 21330 w 37163"/>
                <a:gd name="connsiteY28" fmla="*/ 13489 h 14199"/>
                <a:gd name="connsiteX29" fmla="*/ 23255 w 37163"/>
                <a:gd name="connsiteY29" fmla="*/ 14199 h 14199"/>
                <a:gd name="connsiteX30" fmla="*/ 24522 w 37163"/>
                <a:gd name="connsiteY30" fmla="*/ 14199 h 14199"/>
                <a:gd name="connsiteX31" fmla="*/ 27713 w 37163"/>
                <a:gd name="connsiteY31" fmla="*/ 10500 h 14199"/>
                <a:gd name="connsiteX32" fmla="*/ 35972 w 37163"/>
                <a:gd name="connsiteY32" fmla="*/ 10500 h 14199"/>
                <a:gd name="connsiteX33" fmla="*/ 37164 w 37163"/>
                <a:gd name="connsiteY33" fmla="*/ 9261 h 14199"/>
                <a:gd name="connsiteX34" fmla="*/ 37137 w 37163"/>
                <a:gd name="connsiteY34" fmla="*/ 9031 h 14199"/>
                <a:gd name="connsiteX35" fmla="*/ 23863 w 37163"/>
                <a:gd name="connsiteY35" fmla="*/ 11058 h 14199"/>
                <a:gd name="connsiteX36" fmla="*/ 23356 w 37163"/>
                <a:gd name="connsiteY36" fmla="*/ 11058 h 14199"/>
                <a:gd name="connsiteX37" fmla="*/ 22799 w 37163"/>
                <a:gd name="connsiteY37" fmla="*/ 8828 h 14199"/>
                <a:gd name="connsiteX38" fmla="*/ 21684 w 37163"/>
                <a:gd name="connsiteY38" fmla="*/ 7562 h 14199"/>
                <a:gd name="connsiteX39" fmla="*/ 13629 w 37163"/>
                <a:gd name="connsiteY39" fmla="*/ 6954 h 14199"/>
                <a:gd name="connsiteX40" fmla="*/ 13629 w 37163"/>
                <a:gd name="connsiteY40" fmla="*/ 4927 h 14199"/>
                <a:gd name="connsiteX41" fmla="*/ 24674 w 37163"/>
                <a:gd name="connsiteY41" fmla="*/ 5434 h 14199"/>
                <a:gd name="connsiteX42" fmla="*/ 25028 w 37163"/>
                <a:gd name="connsiteY42" fmla="*/ 8778 h 14199"/>
                <a:gd name="connsiteX43" fmla="*/ 23863 w 37163"/>
                <a:gd name="connsiteY43" fmla="*/ 10906 h 14199"/>
                <a:gd name="connsiteX44" fmla="*/ 31564 w 37163"/>
                <a:gd name="connsiteY44" fmla="*/ 7308 h 14199"/>
                <a:gd name="connsiteX45" fmla="*/ 33591 w 37163"/>
                <a:gd name="connsiteY45" fmla="*/ 5079 h 14199"/>
                <a:gd name="connsiteX46" fmla="*/ 34148 w 37163"/>
                <a:gd name="connsiteY46" fmla="*/ 7308 h 1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7163" h="14199">
                  <a:moveTo>
                    <a:pt x="35566" y="3053"/>
                  </a:moveTo>
                  <a:cubicBezTo>
                    <a:pt x="35484" y="2723"/>
                    <a:pt x="35262" y="2445"/>
                    <a:pt x="34958" y="2293"/>
                  </a:cubicBezTo>
                  <a:cubicBezTo>
                    <a:pt x="34650" y="2166"/>
                    <a:pt x="34304" y="2166"/>
                    <a:pt x="33996" y="2293"/>
                  </a:cubicBezTo>
                  <a:cubicBezTo>
                    <a:pt x="33996" y="2293"/>
                    <a:pt x="29689" y="3863"/>
                    <a:pt x="28929" y="7359"/>
                  </a:cubicBezTo>
                  <a:lnTo>
                    <a:pt x="27207" y="7359"/>
                  </a:lnTo>
                  <a:lnTo>
                    <a:pt x="26903" y="4167"/>
                  </a:lnTo>
                  <a:cubicBezTo>
                    <a:pt x="26832" y="3564"/>
                    <a:pt x="26343" y="3097"/>
                    <a:pt x="25737" y="3053"/>
                  </a:cubicBezTo>
                  <a:lnTo>
                    <a:pt x="13527" y="2495"/>
                  </a:lnTo>
                  <a:lnTo>
                    <a:pt x="13527" y="1127"/>
                  </a:lnTo>
                  <a:cubicBezTo>
                    <a:pt x="13520" y="730"/>
                    <a:pt x="13334" y="358"/>
                    <a:pt x="13021" y="114"/>
                  </a:cubicBezTo>
                  <a:cubicBezTo>
                    <a:pt x="12665" y="-38"/>
                    <a:pt x="12262" y="-38"/>
                    <a:pt x="11906" y="114"/>
                  </a:cubicBezTo>
                  <a:lnTo>
                    <a:pt x="10488" y="621"/>
                  </a:lnTo>
                  <a:cubicBezTo>
                    <a:pt x="9871" y="805"/>
                    <a:pt x="9520" y="1454"/>
                    <a:pt x="9704" y="2071"/>
                  </a:cubicBezTo>
                  <a:cubicBezTo>
                    <a:pt x="9711" y="2094"/>
                    <a:pt x="9719" y="2118"/>
                    <a:pt x="9728" y="2141"/>
                  </a:cubicBezTo>
                  <a:cubicBezTo>
                    <a:pt x="9919" y="2713"/>
                    <a:pt x="10502" y="3058"/>
                    <a:pt x="11096" y="2951"/>
                  </a:cubicBezTo>
                  <a:lnTo>
                    <a:pt x="11096" y="6954"/>
                  </a:lnTo>
                  <a:lnTo>
                    <a:pt x="9018" y="6954"/>
                  </a:lnTo>
                  <a:cubicBezTo>
                    <a:pt x="8658" y="5543"/>
                    <a:pt x="7963" y="4239"/>
                    <a:pt x="6992" y="3154"/>
                  </a:cubicBezTo>
                  <a:cubicBezTo>
                    <a:pt x="6523" y="2710"/>
                    <a:pt x="5789" y="2710"/>
                    <a:pt x="5320" y="3154"/>
                  </a:cubicBezTo>
                  <a:cubicBezTo>
                    <a:pt x="4844" y="3628"/>
                    <a:pt x="4843" y="4398"/>
                    <a:pt x="5317" y="4873"/>
                  </a:cubicBezTo>
                  <a:cubicBezTo>
                    <a:pt x="5318" y="4874"/>
                    <a:pt x="5319" y="4875"/>
                    <a:pt x="5320" y="4876"/>
                  </a:cubicBezTo>
                  <a:cubicBezTo>
                    <a:pt x="5826" y="5484"/>
                    <a:pt x="7245" y="7410"/>
                    <a:pt x="6738" y="8879"/>
                  </a:cubicBezTo>
                  <a:cubicBezTo>
                    <a:pt x="6232" y="10348"/>
                    <a:pt x="4307" y="11058"/>
                    <a:pt x="1216" y="11514"/>
                  </a:cubicBezTo>
                  <a:cubicBezTo>
                    <a:pt x="544" y="11514"/>
                    <a:pt x="0" y="12058"/>
                    <a:pt x="0" y="12729"/>
                  </a:cubicBezTo>
                  <a:cubicBezTo>
                    <a:pt x="0" y="13401"/>
                    <a:pt x="544" y="13945"/>
                    <a:pt x="1216" y="13945"/>
                  </a:cubicBezTo>
                  <a:lnTo>
                    <a:pt x="1216" y="13945"/>
                  </a:lnTo>
                  <a:cubicBezTo>
                    <a:pt x="5370" y="13337"/>
                    <a:pt x="7904" y="11919"/>
                    <a:pt x="8664" y="9740"/>
                  </a:cubicBezTo>
                  <a:lnTo>
                    <a:pt x="20012" y="10551"/>
                  </a:lnTo>
                  <a:cubicBezTo>
                    <a:pt x="20093" y="11655"/>
                    <a:pt x="20559" y="12695"/>
                    <a:pt x="21330" y="13489"/>
                  </a:cubicBezTo>
                  <a:cubicBezTo>
                    <a:pt x="21860" y="13958"/>
                    <a:pt x="22547" y="14211"/>
                    <a:pt x="23255" y="14199"/>
                  </a:cubicBezTo>
                  <a:lnTo>
                    <a:pt x="24522" y="14199"/>
                  </a:lnTo>
                  <a:cubicBezTo>
                    <a:pt x="26342" y="13904"/>
                    <a:pt x="27688" y="12344"/>
                    <a:pt x="27713" y="10500"/>
                  </a:cubicBezTo>
                  <a:lnTo>
                    <a:pt x="35972" y="10500"/>
                  </a:lnTo>
                  <a:cubicBezTo>
                    <a:pt x="36643" y="10487"/>
                    <a:pt x="37177" y="9932"/>
                    <a:pt x="37164" y="9261"/>
                  </a:cubicBezTo>
                  <a:cubicBezTo>
                    <a:pt x="37162" y="9183"/>
                    <a:pt x="37153" y="9106"/>
                    <a:pt x="37137" y="9031"/>
                  </a:cubicBezTo>
                  <a:close/>
                  <a:moveTo>
                    <a:pt x="23863" y="11058"/>
                  </a:moveTo>
                  <a:cubicBezTo>
                    <a:pt x="23697" y="11105"/>
                    <a:pt x="23522" y="11105"/>
                    <a:pt x="23356" y="11058"/>
                  </a:cubicBezTo>
                  <a:cubicBezTo>
                    <a:pt x="22932" y="10395"/>
                    <a:pt x="22736" y="9612"/>
                    <a:pt x="22799" y="8828"/>
                  </a:cubicBezTo>
                  <a:cubicBezTo>
                    <a:pt x="22829" y="8175"/>
                    <a:pt x="22336" y="7616"/>
                    <a:pt x="21684" y="7562"/>
                  </a:cubicBezTo>
                  <a:lnTo>
                    <a:pt x="13629" y="6954"/>
                  </a:lnTo>
                  <a:lnTo>
                    <a:pt x="13629" y="4927"/>
                  </a:lnTo>
                  <a:lnTo>
                    <a:pt x="24674" y="5434"/>
                  </a:lnTo>
                  <a:lnTo>
                    <a:pt x="25028" y="8778"/>
                  </a:lnTo>
                  <a:cubicBezTo>
                    <a:pt x="25028" y="8778"/>
                    <a:pt x="25281" y="10703"/>
                    <a:pt x="23863" y="10906"/>
                  </a:cubicBezTo>
                  <a:close/>
                  <a:moveTo>
                    <a:pt x="31564" y="7308"/>
                  </a:moveTo>
                  <a:cubicBezTo>
                    <a:pt x="31998" y="6377"/>
                    <a:pt x="32705" y="5599"/>
                    <a:pt x="33591" y="5079"/>
                  </a:cubicBezTo>
                  <a:lnTo>
                    <a:pt x="34148" y="7308"/>
                  </a:ln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9826A8B-E187-4218-A8E5-BC272C0E67D3}"/>
                </a:ext>
              </a:extLst>
            </p:cNvPr>
            <p:cNvSpPr/>
            <p:nvPr/>
          </p:nvSpPr>
          <p:spPr>
            <a:xfrm>
              <a:off x="-1933688" y="482288"/>
              <a:ext cx="13001" cy="17091"/>
            </a:xfrm>
            <a:custGeom>
              <a:avLst/>
              <a:gdLst>
                <a:gd name="connsiteX0" fmla="*/ 12638 w 13001"/>
                <a:gd name="connsiteY0" fmla="*/ 7313 h 17091"/>
                <a:gd name="connsiteX1" fmla="*/ 11422 w 13001"/>
                <a:gd name="connsiteY1" fmla="*/ 7313 h 17091"/>
                <a:gd name="connsiteX2" fmla="*/ 9902 w 13001"/>
                <a:gd name="connsiteY2" fmla="*/ 8023 h 17091"/>
                <a:gd name="connsiteX3" fmla="*/ 8958 w 13001"/>
                <a:gd name="connsiteY3" fmla="*/ 9460 h 17091"/>
                <a:gd name="connsiteX4" fmla="*/ 9902 w 13001"/>
                <a:gd name="connsiteY4" fmla="*/ 10404 h 17091"/>
                <a:gd name="connsiteX5" fmla="*/ 10712 w 13001"/>
                <a:gd name="connsiteY5" fmla="*/ 10404 h 17091"/>
                <a:gd name="connsiteX6" fmla="*/ 10712 w 13001"/>
                <a:gd name="connsiteY6" fmla="*/ 13697 h 17091"/>
                <a:gd name="connsiteX7" fmla="*/ 7216 w 13001"/>
                <a:gd name="connsiteY7" fmla="*/ 14153 h 17091"/>
                <a:gd name="connsiteX8" fmla="*/ 5798 w 13001"/>
                <a:gd name="connsiteY8" fmla="*/ 1183 h 17091"/>
                <a:gd name="connsiteX9" fmla="*/ 5038 w 13001"/>
                <a:gd name="connsiteY9" fmla="*/ 170 h 17091"/>
                <a:gd name="connsiteX10" fmla="*/ 3771 w 13001"/>
                <a:gd name="connsiteY10" fmla="*/ 170 h 17091"/>
                <a:gd name="connsiteX11" fmla="*/ 2505 w 13001"/>
                <a:gd name="connsiteY11" fmla="*/ 1284 h 17091"/>
                <a:gd name="connsiteX12" fmla="*/ 2502 w 13001"/>
                <a:gd name="connsiteY12" fmla="*/ 3004 h 17091"/>
                <a:gd name="connsiteX13" fmla="*/ 2505 w 13001"/>
                <a:gd name="connsiteY13" fmla="*/ 3007 h 17091"/>
                <a:gd name="connsiteX14" fmla="*/ 3670 w 13001"/>
                <a:gd name="connsiteY14" fmla="*/ 3361 h 17091"/>
                <a:gd name="connsiteX15" fmla="*/ 4379 w 13001"/>
                <a:gd name="connsiteY15" fmla="*/ 9644 h 17091"/>
                <a:gd name="connsiteX16" fmla="*/ 73 w 13001"/>
                <a:gd name="connsiteY16" fmla="*/ 15572 h 17091"/>
                <a:gd name="connsiteX17" fmla="*/ 73 w 13001"/>
                <a:gd name="connsiteY17" fmla="*/ 15572 h 17091"/>
                <a:gd name="connsiteX18" fmla="*/ 73 w 13001"/>
                <a:gd name="connsiteY18" fmla="*/ 16382 h 17091"/>
                <a:gd name="connsiteX19" fmla="*/ 1390 w 13001"/>
                <a:gd name="connsiteY19" fmla="*/ 17092 h 17091"/>
                <a:gd name="connsiteX20" fmla="*/ 6152 w 13001"/>
                <a:gd name="connsiteY20" fmla="*/ 16585 h 17091"/>
                <a:gd name="connsiteX21" fmla="*/ 6152 w 13001"/>
                <a:gd name="connsiteY21" fmla="*/ 16585 h 17091"/>
                <a:gd name="connsiteX22" fmla="*/ 11928 w 13001"/>
                <a:gd name="connsiteY22" fmla="*/ 15774 h 17091"/>
                <a:gd name="connsiteX23" fmla="*/ 12992 w 13001"/>
                <a:gd name="connsiteY23" fmla="*/ 14558 h 17091"/>
                <a:gd name="connsiteX24" fmla="*/ 12992 w 13001"/>
                <a:gd name="connsiteY24" fmla="*/ 8377 h 17091"/>
                <a:gd name="connsiteX25" fmla="*/ 12637 w 13001"/>
                <a:gd name="connsiteY25" fmla="*/ 7313 h 17091"/>
                <a:gd name="connsiteX26" fmla="*/ 2505 w 13001"/>
                <a:gd name="connsiteY26" fmla="*/ 14558 h 17091"/>
                <a:gd name="connsiteX27" fmla="*/ 4430 w 13001"/>
                <a:gd name="connsiteY27" fmla="*/ 12278 h 17091"/>
                <a:gd name="connsiteX28" fmla="*/ 4430 w 13001"/>
                <a:gd name="connsiteY28" fmla="*/ 14305 h 1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001" h="17091">
                  <a:moveTo>
                    <a:pt x="12638" y="7313"/>
                  </a:moveTo>
                  <a:cubicBezTo>
                    <a:pt x="12259" y="7106"/>
                    <a:pt x="11800" y="7106"/>
                    <a:pt x="11422" y="7313"/>
                  </a:cubicBezTo>
                  <a:lnTo>
                    <a:pt x="9902" y="8023"/>
                  </a:lnTo>
                  <a:cubicBezTo>
                    <a:pt x="9244" y="8159"/>
                    <a:pt x="8821" y="8803"/>
                    <a:pt x="8958" y="9460"/>
                  </a:cubicBezTo>
                  <a:cubicBezTo>
                    <a:pt x="9056" y="9935"/>
                    <a:pt x="9427" y="10305"/>
                    <a:pt x="9902" y="10404"/>
                  </a:cubicBezTo>
                  <a:cubicBezTo>
                    <a:pt x="10170" y="10447"/>
                    <a:pt x="10444" y="10447"/>
                    <a:pt x="10712" y="10404"/>
                  </a:cubicBezTo>
                  <a:lnTo>
                    <a:pt x="10712" y="13697"/>
                  </a:lnTo>
                  <a:lnTo>
                    <a:pt x="7216" y="14153"/>
                  </a:lnTo>
                  <a:lnTo>
                    <a:pt x="5798" y="1183"/>
                  </a:lnTo>
                  <a:cubicBezTo>
                    <a:pt x="5754" y="730"/>
                    <a:pt x="5461" y="338"/>
                    <a:pt x="5038" y="170"/>
                  </a:cubicBezTo>
                  <a:cubicBezTo>
                    <a:pt x="4646" y="-57"/>
                    <a:pt x="4163" y="-57"/>
                    <a:pt x="3771" y="170"/>
                  </a:cubicBezTo>
                  <a:lnTo>
                    <a:pt x="2505" y="1284"/>
                  </a:lnTo>
                  <a:cubicBezTo>
                    <a:pt x="2029" y="1758"/>
                    <a:pt x="2028" y="2528"/>
                    <a:pt x="2502" y="3004"/>
                  </a:cubicBezTo>
                  <a:cubicBezTo>
                    <a:pt x="2503" y="3005"/>
                    <a:pt x="2504" y="3006"/>
                    <a:pt x="2505" y="3007"/>
                  </a:cubicBezTo>
                  <a:cubicBezTo>
                    <a:pt x="2795" y="3335"/>
                    <a:pt x="3246" y="3472"/>
                    <a:pt x="3670" y="3361"/>
                  </a:cubicBezTo>
                  <a:lnTo>
                    <a:pt x="4379" y="9644"/>
                  </a:lnTo>
                  <a:cubicBezTo>
                    <a:pt x="1791" y="10450"/>
                    <a:pt x="40" y="12861"/>
                    <a:pt x="73" y="15572"/>
                  </a:cubicBezTo>
                  <a:lnTo>
                    <a:pt x="73" y="15572"/>
                  </a:lnTo>
                  <a:cubicBezTo>
                    <a:pt x="-24" y="15833"/>
                    <a:pt x="-24" y="16121"/>
                    <a:pt x="73" y="16382"/>
                  </a:cubicBezTo>
                  <a:cubicBezTo>
                    <a:pt x="73" y="16889"/>
                    <a:pt x="478" y="17092"/>
                    <a:pt x="1390" y="17092"/>
                  </a:cubicBezTo>
                  <a:cubicBezTo>
                    <a:pt x="2302" y="17092"/>
                    <a:pt x="3569" y="17092"/>
                    <a:pt x="6152" y="16585"/>
                  </a:cubicBezTo>
                  <a:lnTo>
                    <a:pt x="6152" y="16585"/>
                  </a:lnTo>
                  <a:lnTo>
                    <a:pt x="11928" y="15774"/>
                  </a:lnTo>
                  <a:cubicBezTo>
                    <a:pt x="12529" y="15677"/>
                    <a:pt x="12976" y="15167"/>
                    <a:pt x="12992" y="14558"/>
                  </a:cubicBezTo>
                  <a:lnTo>
                    <a:pt x="12992" y="8377"/>
                  </a:lnTo>
                  <a:cubicBezTo>
                    <a:pt x="13038" y="7988"/>
                    <a:pt x="12908" y="7597"/>
                    <a:pt x="12637" y="7313"/>
                  </a:cubicBezTo>
                  <a:close/>
                  <a:moveTo>
                    <a:pt x="2505" y="14558"/>
                  </a:moveTo>
                  <a:cubicBezTo>
                    <a:pt x="2798" y="13562"/>
                    <a:pt x="3497" y="12734"/>
                    <a:pt x="4430" y="12278"/>
                  </a:cubicBezTo>
                  <a:lnTo>
                    <a:pt x="4430" y="14305"/>
                  </a:ln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A936A42-F338-47E2-9D09-B7EB3CD931C9}"/>
                </a:ext>
              </a:extLst>
            </p:cNvPr>
            <p:cNvSpPr/>
            <p:nvPr/>
          </p:nvSpPr>
          <p:spPr>
            <a:xfrm>
              <a:off x="-1920448" y="490227"/>
              <a:ext cx="7488" cy="12345"/>
            </a:xfrm>
            <a:custGeom>
              <a:avLst/>
              <a:gdLst>
                <a:gd name="connsiteX0" fmla="*/ 4311 w 7488"/>
                <a:gd name="connsiteY0" fmla="*/ 338 h 12345"/>
                <a:gd name="connsiteX1" fmla="*/ 2589 w 7488"/>
                <a:gd name="connsiteY1" fmla="*/ 338 h 12345"/>
                <a:gd name="connsiteX2" fmla="*/ 2586 w 7488"/>
                <a:gd name="connsiteY2" fmla="*/ 2058 h 12345"/>
                <a:gd name="connsiteX3" fmla="*/ 2589 w 7488"/>
                <a:gd name="connsiteY3" fmla="*/ 2060 h 12345"/>
                <a:gd name="connsiteX4" fmla="*/ 4818 w 7488"/>
                <a:gd name="connsiteY4" fmla="*/ 7127 h 12345"/>
                <a:gd name="connsiteX5" fmla="*/ 1119 w 7488"/>
                <a:gd name="connsiteY5" fmla="*/ 9914 h 12345"/>
                <a:gd name="connsiteX6" fmla="*/ 4 w 7488"/>
                <a:gd name="connsiteY6" fmla="*/ 11222 h 12345"/>
                <a:gd name="connsiteX7" fmla="*/ 5 w 7488"/>
                <a:gd name="connsiteY7" fmla="*/ 11231 h 12345"/>
                <a:gd name="connsiteX8" fmla="*/ 1221 w 7488"/>
                <a:gd name="connsiteY8" fmla="*/ 12345 h 12345"/>
                <a:gd name="connsiteX9" fmla="*/ 1221 w 7488"/>
                <a:gd name="connsiteY9" fmla="*/ 12345 h 12345"/>
                <a:gd name="connsiteX10" fmla="*/ 7047 w 7488"/>
                <a:gd name="connsiteY10" fmla="*/ 7988 h 12345"/>
                <a:gd name="connsiteX11" fmla="*/ 4311 w 7488"/>
                <a:gd name="connsiteY11" fmla="*/ 338 h 12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88" h="12345">
                  <a:moveTo>
                    <a:pt x="4311" y="338"/>
                  </a:moveTo>
                  <a:cubicBezTo>
                    <a:pt x="3825" y="-113"/>
                    <a:pt x="3074" y="-113"/>
                    <a:pt x="2589" y="338"/>
                  </a:cubicBezTo>
                  <a:cubicBezTo>
                    <a:pt x="2113" y="812"/>
                    <a:pt x="2112" y="1582"/>
                    <a:pt x="2586" y="2058"/>
                  </a:cubicBezTo>
                  <a:cubicBezTo>
                    <a:pt x="2587" y="2059"/>
                    <a:pt x="2588" y="2060"/>
                    <a:pt x="2589" y="2060"/>
                  </a:cubicBezTo>
                  <a:cubicBezTo>
                    <a:pt x="2588" y="2061"/>
                    <a:pt x="5730" y="4746"/>
                    <a:pt x="4818" y="7127"/>
                  </a:cubicBezTo>
                  <a:cubicBezTo>
                    <a:pt x="4211" y="8681"/>
                    <a:pt x="2780" y="9759"/>
                    <a:pt x="1119" y="9914"/>
                  </a:cubicBezTo>
                  <a:cubicBezTo>
                    <a:pt x="450" y="9967"/>
                    <a:pt x="-50" y="10553"/>
                    <a:pt x="4" y="11222"/>
                  </a:cubicBezTo>
                  <a:cubicBezTo>
                    <a:pt x="4" y="11225"/>
                    <a:pt x="4" y="11228"/>
                    <a:pt x="5" y="11231"/>
                  </a:cubicBezTo>
                  <a:cubicBezTo>
                    <a:pt x="58" y="11862"/>
                    <a:pt x="587" y="12348"/>
                    <a:pt x="1221" y="12345"/>
                  </a:cubicBezTo>
                  <a:lnTo>
                    <a:pt x="1221" y="12345"/>
                  </a:lnTo>
                  <a:cubicBezTo>
                    <a:pt x="3838" y="12132"/>
                    <a:pt x="6102" y="10439"/>
                    <a:pt x="7047" y="7988"/>
                  </a:cubicBezTo>
                  <a:cubicBezTo>
                    <a:pt x="8871" y="4087"/>
                    <a:pt x="4463" y="490"/>
                    <a:pt x="4311" y="338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89C94E0-8C89-4641-8651-55E8FC498CB9}"/>
                </a:ext>
              </a:extLst>
            </p:cNvPr>
            <p:cNvSpPr/>
            <p:nvPr/>
          </p:nvSpPr>
          <p:spPr>
            <a:xfrm>
              <a:off x="-1911698" y="475254"/>
              <a:ext cx="40582" cy="26102"/>
            </a:xfrm>
            <a:custGeom>
              <a:avLst/>
              <a:gdLst>
                <a:gd name="connsiteX0" fmla="*/ 39235 w 40582"/>
                <a:gd name="connsiteY0" fmla="*/ 11511 h 26102"/>
                <a:gd name="connsiteX1" fmla="*/ 34168 w 40582"/>
                <a:gd name="connsiteY1" fmla="*/ 12372 h 26102"/>
                <a:gd name="connsiteX2" fmla="*/ 30824 w 40582"/>
                <a:gd name="connsiteY2" fmla="*/ 3101 h 26102"/>
                <a:gd name="connsiteX3" fmla="*/ 27176 w 40582"/>
                <a:gd name="connsiteY3" fmla="*/ 61 h 26102"/>
                <a:gd name="connsiteX4" fmla="*/ 23275 w 40582"/>
                <a:gd name="connsiteY4" fmla="*/ 1074 h 26102"/>
                <a:gd name="connsiteX5" fmla="*/ 23275 w 40582"/>
                <a:gd name="connsiteY5" fmla="*/ 2797 h 26102"/>
                <a:gd name="connsiteX6" fmla="*/ 24995 w 40582"/>
                <a:gd name="connsiteY6" fmla="*/ 2800 h 26102"/>
                <a:gd name="connsiteX7" fmla="*/ 24998 w 40582"/>
                <a:gd name="connsiteY7" fmla="*/ 2797 h 26102"/>
                <a:gd name="connsiteX8" fmla="*/ 26872 w 40582"/>
                <a:gd name="connsiteY8" fmla="*/ 2442 h 26102"/>
                <a:gd name="connsiteX9" fmla="*/ 28696 w 40582"/>
                <a:gd name="connsiteY9" fmla="*/ 4114 h 26102"/>
                <a:gd name="connsiteX10" fmla="*/ 31837 w 40582"/>
                <a:gd name="connsiteY10" fmla="*/ 12980 h 26102"/>
                <a:gd name="connsiteX11" fmla="*/ 29355 w 40582"/>
                <a:gd name="connsiteY11" fmla="*/ 13943 h 26102"/>
                <a:gd name="connsiteX12" fmla="*/ 29355 w 40582"/>
                <a:gd name="connsiteY12" fmla="*/ 13943 h 26102"/>
                <a:gd name="connsiteX13" fmla="*/ 23934 w 40582"/>
                <a:gd name="connsiteY13" fmla="*/ 12828 h 26102"/>
                <a:gd name="connsiteX14" fmla="*/ 21907 w 40582"/>
                <a:gd name="connsiteY14" fmla="*/ 15615 h 26102"/>
                <a:gd name="connsiteX15" fmla="*/ 20641 w 40582"/>
                <a:gd name="connsiteY15" fmla="*/ 15969 h 26102"/>
                <a:gd name="connsiteX16" fmla="*/ 16790 w 40582"/>
                <a:gd name="connsiteY16" fmla="*/ 11511 h 26102"/>
                <a:gd name="connsiteX17" fmla="*/ 14308 w 40582"/>
                <a:gd name="connsiteY17" fmla="*/ 11511 h 26102"/>
                <a:gd name="connsiteX18" fmla="*/ 13649 w 40582"/>
                <a:gd name="connsiteY18" fmla="*/ 8522 h 26102"/>
                <a:gd name="connsiteX19" fmla="*/ 12230 w 40582"/>
                <a:gd name="connsiteY19" fmla="*/ 7610 h 26102"/>
                <a:gd name="connsiteX20" fmla="*/ 11268 w 40582"/>
                <a:gd name="connsiteY20" fmla="*/ 9028 h 26102"/>
                <a:gd name="connsiteX21" fmla="*/ 11977 w 40582"/>
                <a:gd name="connsiteY21" fmla="*/ 12119 h 26102"/>
                <a:gd name="connsiteX22" fmla="*/ 11014 w 40582"/>
                <a:gd name="connsiteY22" fmla="*/ 12625 h 26102"/>
                <a:gd name="connsiteX23" fmla="*/ 11014 w 40582"/>
                <a:gd name="connsiteY23" fmla="*/ 12625 h 26102"/>
                <a:gd name="connsiteX24" fmla="*/ 9038 w 40582"/>
                <a:gd name="connsiteY24" fmla="*/ 17692 h 26102"/>
                <a:gd name="connsiteX25" fmla="*/ 7265 w 40582"/>
                <a:gd name="connsiteY25" fmla="*/ 17996 h 26102"/>
                <a:gd name="connsiteX26" fmla="*/ 5796 w 40582"/>
                <a:gd name="connsiteY26" fmla="*/ 14196 h 26102"/>
                <a:gd name="connsiteX27" fmla="*/ 4580 w 40582"/>
                <a:gd name="connsiteY27" fmla="*/ 14196 h 26102"/>
                <a:gd name="connsiteX28" fmla="*/ 4580 w 40582"/>
                <a:gd name="connsiteY28" fmla="*/ 14196 h 26102"/>
                <a:gd name="connsiteX29" fmla="*/ 476 w 40582"/>
                <a:gd name="connsiteY29" fmla="*/ 17287 h 26102"/>
                <a:gd name="connsiteX30" fmla="*/ 20 w 40582"/>
                <a:gd name="connsiteY30" fmla="*/ 18503 h 26102"/>
                <a:gd name="connsiteX31" fmla="*/ 426 w 40582"/>
                <a:gd name="connsiteY31" fmla="*/ 20276 h 26102"/>
                <a:gd name="connsiteX32" fmla="*/ 1844 w 40582"/>
                <a:gd name="connsiteY32" fmla="*/ 21238 h 26102"/>
                <a:gd name="connsiteX33" fmla="*/ 4935 w 40582"/>
                <a:gd name="connsiteY33" fmla="*/ 20681 h 26102"/>
                <a:gd name="connsiteX34" fmla="*/ 2047 w 40582"/>
                <a:gd name="connsiteY34" fmla="*/ 23670 h 26102"/>
                <a:gd name="connsiteX35" fmla="*/ 932 w 40582"/>
                <a:gd name="connsiteY35" fmla="*/ 24884 h 26102"/>
                <a:gd name="connsiteX36" fmla="*/ 932 w 40582"/>
                <a:gd name="connsiteY36" fmla="*/ 24886 h 26102"/>
                <a:gd name="connsiteX37" fmla="*/ 2148 w 40582"/>
                <a:gd name="connsiteY37" fmla="*/ 26102 h 26102"/>
                <a:gd name="connsiteX38" fmla="*/ 5847 w 40582"/>
                <a:gd name="connsiteY38" fmla="*/ 24076 h 26102"/>
                <a:gd name="connsiteX39" fmla="*/ 7417 w 40582"/>
                <a:gd name="connsiteY39" fmla="*/ 20276 h 26102"/>
                <a:gd name="connsiteX40" fmla="*/ 13953 w 40582"/>
                <a:gd name="connsiteY40" fmla="*/ 19212 h 26102"/>
                <a:gd name="connsiteX41" fmla="*/ 15270 w 40582"/>
                <a:gd name="connsiteY41" fmla="*/ 22100 h 26102"/>
                <a:gd name="connsiteX42" fmla="*/ 17398 w 40582"/>
                <a:gd name="connsiteY42" fmla="*/ 22910 h 26102"/>
                <a:gd name="connsiteX43" fmla="*/ 19324 w 40582"/>
                <a:gd name="connsiteY43" fmla="*/ 22505 h 26102"/>
                <a:gd name="connsiteX44" fmla="*/ 21451 w 40582"/>
                <a:gd name="connsiteY44" fmla="*/ 20174 h 26102"/>
                <a:gd name="connsiteX45" fmla="*/ 21451 w 40582"/>
                <a:gd name="connsiteY45" fmla="*/ 17895 h 26102"/>
                <a:gd name="connsiteX46" fmla="*/ 22414 w 40582"/>
                <a:gd name="connsiteY46" fmla="*/ 17895 h 26102"/>
                <a:gd name="connsiteX47" fmla="*/ 22769 w 40582"/>
                <a:gd name="connsiteY47" fmla="*/ 17895 h 26102"/>
                <a:gd name="connsiteX48" fmla="*/ 28088 w 40582"/>
                <a:gd name="connsiteY48" fmla="*/ 18756 h 26102"/>
                <a:gd name="connsiteX49" fmla="*/ 29912 w 40582"/>
                <a:gd name="connsiteY49" fmla="*/ 16121 h 26102"/>
                <a:gd name="connsiteX50" fmla="*/ 33712 w 40582"/>
                <a:gd name="connsiteY50" fmla="*/ 14652 h 26102"/>
                <a:gd name="connsiteX51" fmla="*/ 39589 w 40582"/>
                <a:gd name="connsiteY51" fmla="*/ 13588 h 26102"/>
                <a:gd name="connsiteX52" fmla="*/ 40570 w 40582"/>
                <a:gd name="connsiteY52" fmla="*/ 12264 h 26102"/>
                <a:gd name="connsiteX53" fmla="*/ 40552 w 40582"/>
                <a:gd name="connsiteY53" fmla="*/ 12170 h 26102"/>
                <a:gd name="connsiteX54" fmla="*/ 39235 w 40582"/>
                <a:gd name="connsiteY54" fmla="*/ 11511 h 26102"/>
                <a:gd name="connsiteX55" fmla="*/ 2807 w 40582"/>
                <a:gd name="connsiteY55" fmla="*/ 18959 h 26102"/>
                <a:gd name="connsiteX56" fmla="*/ 4783 w 40582"/>
                <a:gd name="connsiteY56" fmla="*/ 17540 h 26102"/>
                <a:gd name="connsiteX57" fmla="*/ 4783 w 40582"/>
                <a:gd name="connsiteY57" fmla="*/ 18604 h 26102"/>
                <a:gd name="connsiteX58" fmla="*/ 11572 w 40582"/>
                <a:gd name="connsiteY58" fmla="*/ 17489 h 26102"/>
                <a:gd name="connsiteX59" fmla="*/ 12484 w 40582"/>
                <a:gd name="connsiteY59" fmla="*/ 14804 h 26102"/>
                <a:gd name="connsiteX60" fmla="*/ 12484 w 40582"/>
                <a:gd name="connsiteY60" fmla="*/ 14804 h 26102"/>
                <a:gd name="connsiteX61" fmla="*/ 13142 w 40582"/>
                <a:gd name="connsiteY61" fmla="*/ 17337 h 26102"/>
                <a:gd name="connsiteX62" fmla="*/ 15017 w 40582"/>
                <a:gd name="connsiteY62" fmla="*/ 14095 h 26102"/>
                <a:gd name="connsiteX63" fmla="*/ 16892 w 40582"/>
                <a:gd name="connsiteY63" fmla="*/ 14095 h 26102"/>
                <a:gd name="connsiteX64" fmla="*/ 18361 w 40582"/>
                <a:gd name="connsiteY64" fmla="*/ 16527 h 26102"/>
                <a:gd name="connsiteX65" fmla="*/ 15726 w 40582"/>
                <a:gd name="connsiteY65" fmla="*/ 16932 h 26102"/>
                <a:gd name="connsiteX66" fmla="*/ 15017 w 40582"/>
                <a:gd name="connsiteY66" fmla="*/ 14095 h 26102"/>
                <a:gd name="connsiteX67" fmla="*/ 19070 w 40582"/>
                <a:gd name="connsiteY67" fmla="*/ 20276 h 26102"/>
                <a:gd name="connsiteX68" fmla="*/ 17550 w 40582"/>
                <a:gd name="connsiteY68" fmla="*/ 20833 h 26102"/>
                <a:gd name="connsiteX69" fmla="*/ 17094 w 40582"/>
                <a:gd name="connsiteY69" fmla="*/ 20833 h 26102"/>
                <a:gd name="connsiteX70" fmla="*/ 16385 w 40582"/>
                <a:gd name="connsiteY70" fmla="*/ 19212 h 26102"/>
                <a:gd name="connsiteX71" fmla="*/ 19070 w 40582"/>
                <a:gd name="connsiteY71" fmla="*/ 18756 h 26102"/>
                <a:gd name="connsiteX72" fmla="*/ 27278 w 40582"/>
                <a:gd name="connsiteY72" fmla="*/ 16780 h 26102"/>
                <a:gd name="connsiteX73" fmla="*/ 24542 w 40582"/>
                <a:gd name="connsiteY73" fmla="*/ 16223 h 26102"/>
                <a:gd name="connsiteX74" fmla="*/ 25454 w 40582"/>
                <a:gd name="connsiteY74" fmla="*/ 14956 h 26102"/>
                <a:gd name="connsiteX75" fmla="*/ 27632 w 40582"/>
                <a:gd name="connsiteY75" fmla="*/ 15767 h 26102"/>
                <a:gd name="connsiteX76" fmla="*/ 27278 w 40582"/>
                <a:gd name="connsiteY76" fmla="*/ 16780 h 26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40582" h="26102">
                  <a:moveTo>
                    <a:pt x="39235" y="11511"/>
                  </a:moveTo>
                  <a:lnTo>
                    <a:pt x="34168" y="12372"/>
                  </a:lnTo>
                  <a:cubicBezTo>
                    <a:pt x="33270" y="9208"/>
                    <a:pt x="32153" y="6110"/>
                    <a:pt x="30824" y="3101"/>
                  </a:cubicBezTo>
                  <a:cubicBezTo>
                    <a:pt x="30188" y="1545"/>
                    <a:pt x="28821" y="406"/>
                    <a:pt x="27176" y="61"/>
                  </a:cubicBezTo>
                  <a:cubicBezTo>
                    <a:pt x="25792" y="-156"/>
                    <a:pt x="24380" y="211"/>
                    <a:pt x="23275" y="1074"/>
                  </a:cubicBezTo>
                  <a:cubicBezTo>
                    <a:pt x="22825" y="1560"/>
                    <a:pt x="22825" y="2311"/>
                    <a:pt x="23275" y="2797"/>
                  </a:cubicBezTo>
                  <a:cubicBezTo>
                    <a:pt x="23749" y="3272"/>
                    <a:pt x="24519" y="3274"/>
                    <a:pt x="24995" y="2800"/>
                  </a:cubicBezTo>
                  <a:cubicBezTo>
                    <a:pt x="24996" y="2799"/>
                    <a:pt x="24997" y="2798"/>
                    <a:pt x="24998" y="2797"/>
                  </a:cubicBezTo>
                  <a:cubicBezTo>
                    <a:pt x="25551" y="2433"/>
                    <a:pt x="26225" y="2306"/>
                    <a:pt x="26872" y="2442"/>
                  </a:cubicBezTo>
                  <a:cubicBezTo>
                    <a:pt x="27708" y="2684"/>
                    <a:pt x="28383" y="3302"/>
                    <a:pt x="28696" y="4114"/>
                  </a:cubicBezTo>
                  <a:cubicBezTo>
                    <a:pt x="29916" y="7005"/>
                    <a:pt x="30965" y="9966"/>
                    <a:pt x="31837" y="12980"/>
                  </a:cubicBezTo>
                  <a:lnTo>
                    <a:pt x="29355" y="13943"/>
                  </a:lnTo>
                  <a:lnTo>
                    <a:pt x="29355" y="13943"/>
                  </a:lnTo>
                  <a:cubicBezTo>
                    <a:pt x="24947" y="11866"/>
                    <a:pt x="24289" y="12372"/>
                    <a:pt x="23934" y="12828"/>
                  </a:cubicBezTo>
                  <a:cubicBezTo>
                    <a:pt x="23579" y="13284"/>
                    <a:pt x="22566" y="14703"/>
                    <a:pt x="21907" y="15615"/>
                  </a:cubicBezTo>
                  <a:lnTo>
                    <a:pt x="20641" y="15969"/>
                  </a:lnTo>
                  <a:cubicBezTo>
                    <a:pt x="20235" y="14247"/>
                    <a:pt x="19121" y="11511"/>
                    <a:pt x="16790" y="11511"/>
                  </a:cubicBezTo>
                  <a:cubicBezTo>
                    <a:pt x="15963" y="11465"/>
                    <a:pt x="15135" y="11465"/>
                    <a:pt x="14308" y="11511"/>
                  </a:cubicBezTo>
                  <a:cubicBezTo>
                    <a:pt x="14308" y="10548"/>
                    <a:pt x="13852" y="9535"/>
                    <a:pt x="13649" y="8522"/>
                  </a:cubicBezTo>
                  <a:cubicBezTo>
                    <a:pt x="13498" y="7886"/>
                    <a:pt x="12871" y="7483"/>
                    <a:pt x="12230" y="7610"/>
                  </a:cubicBezTo>
                  <a:cubicBezTo>
                    <a:pt x="11590" y="7761"/>
                    <a:pt x="11171" y="8377"/>
                    <a:pt x="11268" y="9028"/>
                  </a:cubicBezTo>
                  <a:lnTo>
                    <a:pt x="11977" y="12119"/>
                  </a:lnTo>
                  <a:cubicBezTo>
                    <a:pt x="11630" y="12233"/>
                    <a:pt x="11305" y="12404"/>
                    <a:pt x="11014" y="12625"/>
                  </a:cubicBezTo>
                  <a:lnTo>
                    <a:pt x="11014" y="12625"/>
                  </a:lnTo>
                  <a:cubicBezTo>
                    <a:pt x="10153" y="13233"/>
                    <a:pt x="9140" y="14399"/>
                    <a:pt x="9038" y="17692"/>
                  </a:cubicBezTo>
                  <a:lnTo>
                    <a:pt x="7265" y="17996"/>
                  </a:lnTo>
                  <a:cubicBezTo>
                    <a:pt x="6911" y="15108"/>
                    <a:pt x="6505" y="14449"/>
                    <a:pt x="5796" y="14196"/>
                  </a:cubicBezTo>
                  <a:cubicBezTo>
                    <a:pt x="5415" y="13998"/>
                    <a:pt x="4961" y="13998"/>
                    <a:pt x="4580" y="14196"/>
                  </a:cubicBezTo>
                  <a:lnTo>
                    <a:pt x="4580" y="14196"/>
                  </a:lnTo>
                  <a:lnTo>
                    <a:pt x="476" y="17287"/>
                  </a:lnTo>
                  <a:cubicBezTo>
                    <a:pt x="112" y="17577"/>
                    <a:pt x="-63" y="18044"/>
                    <a:pt x="20" y="18503"/>
                  </a:cubicBezTo>
                  <a:lnTo>
                    <a:pt x="426" y="20276"/>
                  </a:lnTo>
                  <a:cubicBezTo>
                    <a:pt x="577" y="20917"/>
                    <a:pt x="1193" y="21335"/>
                    <a:pt x="1844" y="21238"/>
                  </a:cubicBezTo>
                  <a:lnTo>
                    <a:pt x="4935" y="20681"/>
                  </a:lnTo>
                  <a:cubicBezTo>
                    <a:pt x="4627" y="22150"/>
                    <a:pt x="3504" y="23312"/>
                    <a:pt x="2047" y="23670"/>
                  </a:cubicBezTo>
                  <a:cubicBezTo>
                    <a:pt x="1404" y="23698"/>
                    <a:pt x="905" y="24241"/>
                    <a:pt x="932" y="24884"/>
                  </a:cubicBezTo>
                  <a:cubicBezTo>
                    <a:pt x="932" y="24885"/>
                    <a:pt x="932" y="24886"/>
                    <a:pt x="932" y="24886"/>
                  </a:cubicBezTo>
                  <a:cubicBezTo>
                    <a:pt x="932" y="25558"/>
                    <a:pt x="1477" y="26102"/>
                    <a:pt x="2148" y="26102"/>
                  </a:cubicBezTo>
                  <a:cubicBezTo>
                    <a:pt x="3576" y="25869"/>
                    <a:pt x="4881" y="25154"/>
                    <a:pt x="5847" y="24076"/>
                  </a:cubicBezTo>
                  <a:cubicBezTo>
                    <a:pt x="6811" y="23039"/>
                    <a:pt x="7368" y="21690"/>
                    <a:pt x="7417" y="20276"/>
                  </a:cubicBezTo>
                  <a:lnTo>
                    <a:pt x="13953" y="19212"/>
                  </a:lnTo>
                  <a:cubicBezTo>
                    <a:pt x="14232" y="20240"/>
                    <a:pt x="14677" y="21215"/>
                    <a:pt x="15270" y="22100"/>
                  </a:cubicBezTo>
                  <a:cubicBezTo>
                    <a:pt x="15851" y="22631"/>
                    <a:pt x="16612" y="22921"/>
                    <a:pt x="17398" y="22910"/>
                  </a:cubicBezTo>
                  <a:cubicBezTo>
                    <a:pt x="18057" y="22878"/>
                    <a:pt x="18707" y="22741"/>
                    <a:pt x="19324" y="22505"/>
                  </a:cubicBezTo>
                  <a:cubicBezTo>
                    <a:pt x="19830" y="22505"/>
                    <a:pt x="21451" y="21492"/>
                    <a:pt x="21451" y="20174"/>
                  </a:cubicBezTo>
                  <a:lnTo>
                    <a:pt x="21451" y="17895"/>
                  </a:lnTo>
                  <a:lnTo>
                    <a:pt x="22414" y="17895"/>
                  </a:lnTo>
                  <a:lnTo>
                    <a:pt x="22769" y="17895"/>
                  </a:lnTo>
                  <a:cubicBezTo>
                    <a:pt x="24432" y="18657"/>
                    <a:pt x="26270" y="18954"/>
                    <a:pt x="28088" y="18756"/>
                  </a:cubicBezTo>
                  <a:cubicBezTo>
                    <a:pt x="29118" y="18260"/>
                    <a:pt x="29811" y="17260"/>
                    <a:pt x="29912" y="16121"/>
                  </a:cubicBezTo>
                  <a:lnTo>
                    <a:pt x="33712" y="14652"/>
                  </a:lnTo>
                  <a:lnTo>
                    <a:pt x="39589" y="13588"/>
                  </a:lnTo>
                  <a:cubicBezTo>
                    <a:pt x="40226" y="13493"/>
                    <a:pt x="40665" y="12900"/>
                    <a:pt x="40570" y="12264"/>
                  </a:cubicBezTo>
                  <a:cubicBezTo>
                    <a:pt x="40565" y="12232"/>
                    <a:pt x="40559" y="12201"/>
                    <a:pt x="40552" y="12170"/>
                  </a:cubicBezTo>
                  <a:cubicBezTo>
                    <a:pt x="40311" y="11679"/>
                    <a:pt x="39772" y="11409"/>
                    <a:pt x="39235" y="11511"/>
                  </a:cubicBezTo>
                  <a:close/>
                  <a:moveTo>
                    <a:pt x="2807" y="18959"/>
                  </a:moveTo>
                  <a:lnTo>
                    <a:pt x="4783" y="17540"/>
                  </a:lnTo>
                  <a:cubicBezTo>
                    <a:pt x="4783" y="17540"/>
                    <a:pt x="4783" y="18199"/>
                    <a:pt x="4783" y="18604"/>
                  </a:cubicBezTo>
                  <a:close/>
                  <a:moveTo>
                    <a:pt x="11572" y="17489"/>
                  </a:moveTo>
                  <a:cubicBezTo>
                    <a:pt x="11572" y="15361"/>
                    <a:pt x="12281" y="14956"/>
                    <a:pt x="12484" y="14804"/>
                  </a:cubicBezTo>
                  <a:lnTo>
                    <a:pt x="12484" y="14804"/>
                  </a:lnTo>
                  <a:cubicBezTo>
                    <a:pt x="12484" y="15665"/>
                    <a:pt x="12940" y="16476"/>
                    <a:pt x="13142" y="17337"/>
                  </a:cubicBezTo>
                  <a:close/>
                  <a:moveTo>
                    <a:pt x="15017" y="14095"/>
                  </a:moveTo>
                  <a:cubicBezTo>
                    <a:pt x="15641" y="14043"/>
                    <a:pt x="16268" y="14043"/>
                    <a:pt x="16892" y="14095"/>
                  </a:cubicBezTo>
                  <a:cubicBezTo>
                    <a:pt x="17398" y="14095"/>
                    <a:pt x="18006" y="15209"/>
                    <a:pt x="18361" y="16527"/>
                  </a:cubicBezTo>
                  <a:lnTo>
                    <a:pt x="15726" y="16932"/>
                  </a:lnTo>
                  <a:cubicBezTo>
                    <a:pt x="15473" y="15969"/>
                    <a:pt x="15270" y="15057"/>
                    <a:pt x="15017" y="14095"/>
                  </a:cubicBezTo>
                  <a:close/>
                  <a:moveTo>
                    <a:pt x="19070" y="20276"/>
                  </a:moveTo>
                  <a:cubicBezTo>
                    <a:pt x="18618" y="20585"/>
                    <a:pt x="18095" y="20777"/>
                    <a:pt x="17550" y="20833"/>
                  </a:cubicBezTo>
                  <a:lnTo>
                    <a:pt x="17094" y="20833"/>
                  </a:lnTo>
                  <a:cubicBezTo>
                    <a:pt x="16807" y="20316"/>
                    <a:pt x="16570" y="19774"/>
                    <a:pt x="16385" y="19212"/>
                  </a:cubicBezTo>
                  <a:lnTo>
                    <a:pt x="19070" y="18756"/>
                  </a:lnTo>
                  <a:close/>
                  <a:moveTo>
                    <a:pt x="27278" y="16780"/>
                  </a:moveTo>
                  <a:cubicBezTo>
                    <a:pt x="26341" y="16748"/>
                    <a:pt x="25416" y="16560"/>
                    <a:pt x="24542" y="16223"/>
                  </a:cubicBezTo>
                  <a:lnTo>
                    <a:pt x="25454" y="14956"/>
                  </a:lnTo>
                  <a:lnTo>
                    <a:pt x="27632" y="15767"/>
                  </a:lnTo>
                  <a:cubicBezTo>
                    <a:pt x="27588" y="16126"/>
                    <a:pt x="27467" y="16471"/>
                    <a:pt x="27278" y="16780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33E78C2-C137-4275-BFD3-0459A3A23DBA}"/>
                </a:ext>
              </a:extLst>
            </p:cNvPr>
            <p:cNvSpPr/>
            <p:nvPr/>
          </p:nvSpPr>
          <p:spPr>
            <a:xfrm>
              <a:off x="-1935237" y="484231"/>
              <a:ext cx="2938" cy="2938"/>
            </a:xfrm>
            <a:custGeom>
              <a:avLst/>
              <a:gdLst>
                <a:gd name="connsiteX0" fmla="*/ 2939 w 2938"/>
                <a:gd name="connsiteY0" fmla="*/ 1469 h 2938"/>
                <a:gd name="connsiteX1" fmla="*/ 1469 w 2938"/>
                <a:gd name="connsiteY1" fmla="*/ 2939 h 2938"/>
                <a:gd name="connsiteX2" fmla="*/ 0 w 2938"/>
                <a:gd name="connsiteY2" fmla="*/ 1469 h 2938"/>
                <a:gd name="connsiteX3" fmla="*/ 1469 w 2938"/>
                <a:gd name="connsiteY3" fmla="*/ 0 h 2938"/>
                <a:gd name="connsiteX4" fmla="*/ 2939 w 2938"/>
                <a:gd name="connsiteY4" fmla="*/ 1469 h 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8" h="2938">
                  <a:moveTo>
                    <a:pt x="2939" y="1469"/>
                  </a:moveTo>
                  <a:cubicBezTo>
                    <a:pt x="2939" y="2281"/>
                    <a:pt x="2281" y="2939"/>
                    <a:pt x="1469" y="2939"/>
                  </a:cubicBezTo>
                  <a:cubicBezTo>
                    <a:pt x="658" y="2939"/>
                    <a:pt x="0" y="2281"/>
                    <a:pt x="0" y="1469"/>
                  </a:cubicBezTo>
                  <a:cubicBezTo>
                    <a:pt x="0" y="658"/>
                    <a:pt x="658" y="0"/>
                    <a:pt x="1469" y="0"/>
                  </a:cubicBezTo>
                  <a:cubicBezTo>
                    <a:pt x="2281" y="0"/>
                    <a:pt x="2939" y="658"/>
                    <a:pt x="2939" y="1469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427BA6F-7460-49A6-99C3-A50F32F7A2DF}"/>
                </a:ext>
              </a:extLst>
            </p:cNvPr>
            <p:cNvSpPr/>
            <p:nvPr/>
          </p:nvSpPr>
          <p:spPr>
            <a:xfrm>
              <a:off x="-2020252" y="478152"/>
              <a:ext cx="2938" cy="2938"/>
            </a:xfrm>
            <a:custGeom>
              <a:avLst/>
              <a:gdLst>
                <a:gd name="connsiteX0" fmla="*/ 2939 w 2938"/>
                <a:gd name="connsiteY0" fmla="*/ 1469 h 2938"/>
                <a:gd name="connsiteX1" fmla="*/ 1469 w 2938"/>
                <a:gd name="connsiteY1" fmla="*/ 2939 h 2938"/>
                <a:gd name="connsiteX2" fmla="*/ 0 w 2938"/>
                <a:gd name="connsiteY2" fmla="*/ 1469 h 2938"/>
                <a:gd name="connsiteX3" fmla="*/ 1469 w 2938"/>
                <a:gd name="connsiteY3" fmla="*/ 0 h 2938"/>
                <a:gd name="connsiteX4" fmla="*/ 2939 w 2938"/>
                <a:gd name="connsiteY4" fmla="*/ 1469 h 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8" h="2938">
                  <a:moveTo>
                    <a:pt x="2939" y="1469"/>
                  </a:moveTo>
                  <a:cubicBezTo>
                    <a:pt x="2939" y="2281"/>
                    <a:pt x="2281" y="2939"/>
                    <a:pt x="1469" y="2939"/>
                  </a:cubicBezTo>
                  <a:cubicBezTo>
                    <a:pt x="658" y="2939"/>
                    <a:pt x="0" y="2281"/>
                    <a:pt x="0" y="1469"/>
                  </a:cubicBezTo>
                  <a:cubicBezTo>
                    <a:pt x="0" y="658"/>
                    <a:pt x="658" y="0"/>
                    <a:pt x="1469" y="0"/>
                  </a:cubicBezTo>
                  <a:cubicBezTo>
                    <a:pt x="2281" y="0"/>
                    <a:pt x="2939" y="658"/>
                    <a:pt x="2939" y="1469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B6D8C33-DD8B-4C40-A066-2F27FE9123B4}"/>
                </a:ext>
              </a:extLst>
            </p:cNvPr>
            <p:cNvSpPr/>
            <p:nvPr/>
          </p:nvSpPr>
          <p:spPr>
            <a:xfrm>
              <a:off x="-2019593" y="490462"/>
              <a:ext cx="2938" cy="2888"/>
            </a:xfrm>
            <a:custGeom>
              <a:avLst/>
              <a:gdLst>
                <a:gd name="connsiteX0" fmla="*/ 1469 w 2938"/>
                <a:gd name="connsiteY0" fmla="*/ 1 h 2888"/>
                <a:gd name="connsiteX1" fmla="*/ 1 w 2938"/>
                <a:gd name="connsiteY1" fmla="*/ 1368 h 2888"/>
                <a:gd name="connsiteX2" fmla="*/ 0 w 2938"/>
                <a:gd name="connsiteY2" fmla="*/ 1420 h 2888"/>
                <a:gd name="connsiteX3" fmla="*/ 1469 w 2938"/>
                <a:gd name="connsiteY3" fmla="*/ 2889 h 2888"/>
                <a:gd name="connsiteX4" fmla="*/ 2938 w 2938"/>
                <a:gd name="connsiteY4" fmla="*/ 1420 h 2888"/>
                <a:gd name="connsiteX5" fmla="*/ 1521 w 2938"/>
                <a:gd name="connsiteY5" fmla="*/ 0 h 2888"/>
                <a:gd name="connsiteX6" fmla="*/ 1469 w 2938"/>
                <a:gd name="connsiteY6" fmla="*/ 1 h 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8" h="2888">
                  <a:moveTo>
                    <a:pt x="1469" y="1"/>
                  </a:moveTo>
                  <a:cubicBezTo>
                    <a:pt x="686" y="-27"/>
                    <a:pt x="29" y="585"/>
                    <a:pt x="1" y="1368"/>
                  </a:cubicBezTo>
                  <a:cubicBezTo>
                    <a:pt x="0" y="1385"/>
                    <a:pt x="0" y="1402"/>
                    <a:pt x="0" y="1420"/>
                  </a:cubicBezTo>
                  <a:cubicBezTo>
                    <a:pt x="0" y="2231"/>
                    <a:pt x="658" y="2889"/>
                    <a:pt x="1469" y="2889"/>
                  </a:cubicBezTo>
                  <a:cubicBezTo>
                    <a:pt x="2281" y="2889"/>
                    <a:pt x="2938" y="2231"/>
                    <a:pt x="2938" y="1420"/>
                  </a:cubicBezTo>
                  <a:cubicBezTo>
                    <a:pt x="2939" y="636"/>
                    <a:pt x="2304" y="1"/>
                    <a:pt x="1521" y="0"/>
                  </a:cubicBezTo>
                  <a:cubicBezTo>
                    <a:pt x="1504" y="0"/>
                    <a:pt x="1486" y="0"/>
                    <a:pt x="1469" y="1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E956164-139B-424D-83B9-750EEE242CAC}"/>
                </a:ext>
              </a:extLst>
            </p:cNvPr>
            <p:cNvSpPr/>
            <p:nvPr/>
          </p:nvSpPr>
          <p:spPr>
            <a:xfrm>
              <a:off x="-2015489" y="491730"/>
              <a:ext cx="2938" cy="2938"/>
            </a:xfrm>
            <a:custGeom>
              <a:avLst/>
              <a:gdLst>
                <a:gd name="connsiteX0" fmla="*/ 1469 w 2938"/>
                <a:gd name="connsiteY0" fmla="*/ 0 h 2938"/>
                <a:gd name="connsiteX1" fmla="*/ 0 w 2938"/>
                <a:gd name="connsiteY1" fmla="*/ 1469 h 2938"/>
                <a:gd name="connsiteX2" fmla="*/ 1469 w 2938"/>
                <a:gd name="connsiteY2" fmla="*/ 2939 h 2938"/>
                <a:gd name="connsiteX3" fmla="*/ 2938 w 2938"/>
                <a:gd name="connsiteY3" fmla="*/ 1469 h 2938"/>
                <a:gd name="connsiteX4" fmla="*/ 1469 w 2938"/>
                <a:gd name="connsiteY4" fmla="*/ 0 h 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8" h="2938">
                  <a:moveTo>
                    <a:pt x="1469" y="0"/>
                  </a:moveTo>
                  <a:cubicBezTo>
                    <a:pt x="658" y="0"/>
                    <a:pt x="0" y="658"/>
                    <a:pt x="0" y="1469"/>
                  </a:cubicBezTo>
                  <a:cubicBezTo>
                    <a:pt x="0" y="2281"/>
                    <a:pt x="658" y="2939"/>
                    <a:pt x="1469" y="2939"/>
                  </a:cubicBezTo>
                  <a:cubicBezTo>
                    <a:pt x="2281" y="2939"/>
                    <a:pt x="2938" y="2281"/>
                    <a:pt x="2938" y="1469"/>
                  </a:cubicBezTo>
                  <a:cubicBezTo>
                    <a:pt x="2938" y="658"/>
                    <a:pt x="2281" y="0"/>
                    <a:pt x="1469" y="0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6CC1A2C-955A-4124-A0B7-A815BADC7FDF}"/>
                </a:ext>
              </a:extLst>
            </p:cNvPr>
            <p:cNvSpPr/>
            <p:nvPr/>
          </p:nvSpPr>
          <p:spPr>
            <a:xfrm>
              <a:off x="-2009156" y="493503"/>
              <a:ext cx="2938" cy="2938"/>
            </a:xfrm>
            <a:custGeom>
              <a:avLst/>
              <a:gdLst>
                <a:gd name="connsiteX0" fmla="*/ 1469 w 2938"/>
                <a:gd name="connsiteY0" fmla="*/ 0 h 2938"/>
                <a:gd name="connsiteX1" fmla="*/ 0 w 2938"/>
                <a:gd name="connsiteY1" fmla="*/ 1469 h 2938"/>
                <a:gd name="connsiteX2" fmla="*/ 1469 w 2938"/>
                <a:gd name="connsiteY2" fmla="*/ 2939 h 2938"/>
                <a:gd name="connsiteX3" fmla="*/ 2938 w 2938"/>
                <a:gd name="connsiteY3" fmla="*/ 1469 h 2938"/>
                <a:gd name="connsiteX4" fmla="*/ 1469 w 2938"/>
                <a:gd name="connsiteY4" fmla="*/ 0 h 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8" h="2938">
                  <a:moveTo>
                    <a:pt x="1469" y="0"/>
                  </a:moveTo>
                  <a:cubicBezTo>
                    <a:pt x="669" y="26"/>
                    <a:pt x="26" y="669"/>
                    <a:pt x="0" y="1469"/>
                  </a:cubicBezTo>
                  <a:cubicBezTo>
                    <a:pt x="0" y="2281"/>
                    <a:pt x="658" y="2939"/>
                    <a:pt x="1469" y="2939"/>
                  </a:cubicBezTo>
                  <a:cubicBezTo>
                    <a:pt x="2281" y="2939"/>
                    <a:pt x="2938" y="2281"/>
                    <a:pt x="2938" y="1469"/>
                  </a:cubicBezTo>
                  <a:cubicBezTo>
                    <a:pt x="2912" y="669"/>
                    <a:pt x="2270" y="26"/>
                    <a:pt x="1469" y="0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CE921D6-4A7F-4662-8216-8A26892CE54A}"/>
                </a:ext>
              </a:extLst>
            </p:cNvPr>
            <p:cNvSpPr/>
            <p:nvPr/>
          </p:nvSpPr>
          <p:spPr>
            <a:xfrm>
              <a:off x="-1934680" y="488285"/>
              <a:ext cx="2938" cy="2938"/>
            </a:xfrm>
            <a:custGeom>
              <a:avLst/>
              <a:gdLst>
                <a:gd name="connsiteX0" fmla="*/ 2939 w 2938"/>
                <a:gd name="connsiteY0" fmla="*/ 1469 h 2938"/>
                <a:gd name="connsiteX1" fmla="*/ 1469 w 2938"/>
                <a:gd name="connsiteY1" fmla="*/ 0 h 2938"/>
                <a:gd name="connsiteX2" fmla="*/ 0 w 2938"/>
                <a:gd name="connsiteY2" fmla="*/ 1469 h 2938"/>
                <a:gd name="connsiteX3" fmla="*/ 1469 w 2938"/>
                <a:gd name="connsiteY3" fmla="*/ 2939 h 2938"/>
                <a:gd name="connsiteX4" fmla="*/ 2939 w 2938"/>
                <a:gd name="connsiteY4" fmla="*/ 1469 h 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8" h="2938">
                  <a:moveTo>
                    <a:pt x="2939" y="1469"/>
                  </a:moveTo>
                  <a:cubicBezTo>
                    <a:pt x="2939" y="658"/>
                    <a:pt x="2281" y="0"/>
                    <a:pt x="1469" y="0"/>
                  </a:cubicBezTo>
                  <a:cubicBezTo>
                    <a:pt x="658" y="0"/>
                    <a:pt x="0" y="658"/>
                    <a:pt x="0" y="1469"/>
                  </a:cubicBezTo>
                  <a:cubicBezTo>
                    <a:pt x="0" y="2281"/>
                    <a:pt x="658" y="2939"/>
                    <a:pt x="1469" y="2939"/>
                  </a:cubicBezTo>
                  <a:cubicBezTo>
                    <a:pt x="2281" y="2939"/>
                    <a:pt x="2939" y="2281"/>
                    <a:pt x="2939" y="1469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74E7768-CF16-45CC-B350-05379596C073}"/>
                </a:ext>
              </a:extLst>
            </p:cNvPr>
            <p:cNvSpPr/>
            <p:nvPr/>
          </p:nvSpPr>
          <p:spPr>
            <a:xfrm>
              <a:off x="-1930018" y="500393"/>
              <a:ext cx="2938" cy="2938"/>
            </a:xfrm>
            <a:custGeom>
              <a:avLst/>
              <a:gdLst>
                <a:gd name="connsiteX0" fmla="*/ 1469 w 2938"/>
                <a:gd name="connsiteY0" fmla="*/ 0 h 2938"/>
                <a:gd name="connsiteX1" fmla="*/ 0 w 2938"/>
                <a:gd name="connsiteY1" fmla="*/ 1469 h 2938"/>
                <a:gd name="connsiteX2" fmla="*/ 1469 w 2938"/>
                <a:gd name="connsiteY2" fmla="*/ 2939 h 2938"/>
                <a:gd name="connsiteX3" fmla="*/ 2939 w 2938"/>
                <a:gd name="connsiteY3" fmla="*/ 1469 h 2938"/>
                <a:gd name="connsiteX4" fmla="*/ 1469 w 2938"/>
                <a:gd name="connsiteY4" fmla="*/ 0 h 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8" h="2938">
                  <a:moveTo>
                    <a:pt x="1469" y="0"/>
                  </a:moveTo>
                  <a:cubicBezTo>
                    <a:pt x="658" y="0"/>
                    <a:pt x="0" y="658"/>
                    <a:pt x="0" y="1469"/>
                  </a:cubicBezTo>
                  <a:cubicBezTo>
                    <a:pt x="0" y="2281"/>
                    <a:pt x="658" y="2939"/>
                    <a:pt x="1469" y="2939"/>
                  </a:cubicBezTo>
                  <a:cubicBezTo>
                    <a:pt x="2281" y="2939"/>
                    <a:pt x="2939" y="2281"/>
                    <a:pt x="2939" y="1469"/>
                  </a:cubicBezTo>
                  <a:cubicBezTo>
                    <a:pt x="2939" y="658"/>
                    <a:pt x="2281" y="0"/>
                    <a:pt x="1469" y="0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A4F569A-7E62-4C7D-BDD3-3E5E039A5843}"/>
                </a:ext>
              </a:extLst>
            </p:cNvPr>
            <p:cNvSpPr/>
            <p:nvPr/>
          </p:nvSpPr>
          <p:spPr>
            <a:xfrm>
              <a:off x="-1926624" y="500140"/>
              <a:ext cx="2938" cy="2938"/>
            </a:xfrm>
            <a:custGeom>
              <a:avLst/>
              <a:gdLst>
                <a:gd name="connsiteX0" fmla="*/ 1469 w 2938"/>
                <a:gd name="connsiteY0" fmla="*/ 0 h 2938"/>
                <a:gd name="connsiteX1" fmla="*/ 0 w 2938"/>
                <a:gd name="connsiteY1" fmla="*/ 1469 h 2938"/>
                <a:gd name="connsiteX2" fmla="*/ 1469 w 2938"/>
                <a:gd name="connsiteY2" fmla="*/ 2939 h 2938"/>
                <a:gd name="connsiteX3" fmla="*/ 2939 w 2938"/>
                <a:gd name="connsiteY3" fmla="*/ 1469 h 2938"/>
                <a:gd name="connsiteX4" fmla="*/ 1469 w 2938"/>
                <a:gd name="connsiteY4" fmla="*/ 0 h 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8" h="2938">
                  <a:moveTo>
                    <a:pt x="1469" y="0"/>
                  </a:moveTo>
                  <a:cubicBezTo>
                    <a:pt x="658" y="0"/>
                    <a:pt x="0" y="658"/>
                    <a:pt x="0" y="1469"/>
                  </a:cubicBezTo>
                  <a:cubicBezTo>
                    <a:pt x="0" y="2281"/>
                    <a:pt x="658" y="2939"/>
                    <a:pt x="1469" y="2939"/>
                  </a:cubicBezTo>
                  <a:cubicBezTo>
                    <a:pt x="2281" y="2939"/>
                    <a:pt x="2939" y="2281"/>
                    <a:pt x="2939" y="1469"/>
                  </a:cubicBezTo>
                  <a:cubicBezTo>
                    <a:pt x="2939" y="658"/>
                    <a:pt x="2281" y="0"/>
                    <a:pt x="1469" y="0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AF2E97F-A698-4907-B88D-B74E75BDC345}"/>
                </a:ext>
              </a:extLst>
            </p:cNvPr>
            <p:cNvSpPr/>
            <p:nvPr/>
          </p:nvSpPr>
          <p:spPr>
            <a:xfrm>
              <a:off x="-1878189" y="492439"/>
              <a:ext cx="2938" cy="2938"/>
            </a:xfrm>
            <a:custGeom>
              <a:avLst/>
              <a:gdLst>
                <a:gd name="connsiteX0" fmla="*/ 1469 w 2938"/>
                <a:gd name="connsiteY0" fmla="*/ 0 h 2938"/>
                <a:gd name="connsiteX1" fmla="*/ 0 w 2938"/>
                <a:gd name="connsiteY1" fmla="*/ 1469 h 2938"/>
                <a:gd name="connsiteX2" fmla="*/ 1469 w 2938"/>
                <a:gd name="connsiteY2" fmla="*/ 2939 h 2938"/>
                <a:gd name="connsiteX3" fmla="*/ 2939 w 2938"/>
                <a:gd name="connsiteY3" fmla="*/ 1469 h 2938"/>
                <a:gd name="connsiteX4" fmla="*/ 1469 w 2938"/>
                <a:gd name="connsiteY4" fmla="*/ 0 h 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8" h="2938">
                  <a:moveTo>
                    <a:pt x="1469" y="0"/>
                  </a:moveTo>
                  <a:cubicBezTo>
                    <a:pt x="658" y="0"/>
                    <a:pt x="0" y="658"/>
                    <a:pt x="0" y="1469"/>
                  </a:cubicBezTo>
                  <a:cubicBezTo>
                    <a:pt x="0" y="2281"/>
                    <a:pt x="658" y="2939"/>
                    <a:pt x="1469" y="2939"/>
                  </a:cubicBezTo>
                  <a:cubicBezTo>
                    <a:pt x="2281" y="2939"/>
                    <a:pt x="2939" y="2281"/>
                    <a:pt x="2939" y="1469"/>
                  </a:cubicBezTo>
                  <a:cubicBezTo>
                    <a:pt x="2939" y="658"/>
                    <a:pt x="2281" y="0"/>
                    <a:pt x="1469" y="0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1544A00-7132-4049-8FBD-D5C96D6BFA7E}"/>
                </a:ext>
              </a:extLst>
            </p:cNvPr>
            <p:cNvSpPr/>
            <p:nvPr/>
          </p:nvSpPr>
          <p:spPr>
            <a:xfrm>
              <a:off x="-2055795" y="220159"/>
              <a:ext cx="216516" cy="291838"/>
            </a:xfrm>
            <a:custGeom>
              <a:avLst/>
              <a:gdLst>
                <a:gd name="connsiteX0" fmla="*/ 216516 w 216516"/>
                <a:gd name="connsiteY0" fmla="*/ 248063 h 291838"/>
                <a:gd name="connsiteX1" fmla="*/ 216516 w 216516"/>
                <a:gd name="connsiteY1" fmla="*/ 247607 h 291838"/>
                <a:gd name="connsiteX2" fmla="*/ 216212 w 216516"/>
                <a:gd name="connsiteY2" fmla="*/ 240818 h 291838"/>
                <a:gd name="connsiteX3" fmla="*/ 215655 w 216516"/>
                <a:gd name="connsiteY3" fmla="*/ 228151 h 291838"/>
                <a:gd name="connsiteX4" fmla="*/ 214945 w 216516"/>
                <a:gd name="connsiteY4" fmla="*/ 211078 h 291838"/>
                <a:gd name="connsiteX5" fmla="*/ 211044 w 216516"/>
                <a:gd name="connsiteY5" fmla="*/ 122820 h 291838"/>
                <a:gd name="connsiteX6" fmla="*/ 210183 w 216516"/>
                <a:gd name="connsiteY6" fmla="*/ 102554 h 291838"/>
                <a:gd name="connsiteX7" fmla="*/ 208663 w 216516"/>
                <a:gd name="connsiteY7" fmla="*/ 68153 h 291838"/>
                <a:gd name="connsiteX8" fmla="*/ 196909 w 216516"/>
                <a:gd name="connsiteY8" fmla="*/ 50623 h 291838"/>
                <a:gd name="connsiteX9" fmla="*/ 163166 w 216516"/>
                <a:gd name="connsiteY9" fmla="*/ 59591 h 291838"/>
                <a:gd name="connsiteX10" fmla="*/ 157036 w 216516"/>
                <a:gd name="connsiteY10" fmla="*/ 62833 h 291838"/>
                <a:gd name="connsiteX11" fmla="*/ 135757 w 216516"/>
                <a:gd name="connsiteY11" fmla="*/ 66633 h 291838"/>
                <a:gd name="connsiteX12" fmla="*/ 129931 w 216516"/>
                <a:gd name="connsiteY12" fmla="*/ 51130 h 291838"/>
                <a:gd name="connsiteX13" fmla="*/ 129019 w 216516"/>
                <a:gd name="connsiteY13" fmla="*/ 30864 h 291838"/>
                <a:gd name="connsiteX14" fmla="*/ 129019 w 216516"/>
                <a:gd name="connsiteY14" fmla="*/ 25798 h 291838"/>
                <a:gd name="connsiteX15" fmla="*/ 125827 w 216516"/>
                <a:gd name="connsiteY15" fmla="*/ 9940 h 291838"/>
                <a:gd name="connsiteX16" fmla="*/ 125371 w 216516"/>
                <a:gd name="connsiteY16" fmla="*/ 9180 h 291838"/>
                <a:gd name="connsiteX17" fmla="*/ 116150 w 216516"/>
                <a:gd name="connsiteY17" fmla="*/ 2644 h 291838"/>
                <a:gd name="connsiteX18" fmla="*/ 108499 w 216516"/>
                <a:gd name="connsiteY18" fmla="*/ 972 h 291838"/>
                <a:gd name="connsiteX19" fmla="*/ 101660 w 216516"/>
                <a:gd name="connsiteY19" fmla="*/ 364 h 291838"/>
                <a:gd name="connsiteX20" fmla="*/ 99937 w 216516"/>
                <a:gd name="connsiteY20" fmla="*/ 1935 h 291838"/>
                <a:gd name="connsiteX21" fmla="*/ 87524 w 216516"/>
                <a:gd name="connsiteY21" fmla="*/ 668 h 291838"/>
                <a:gd name="connsiteX22" fmla="*/ 80887 w 216516"/>
                <a:gd name="connsiteY22" fmla="*/ 5735 h 291838"/>
                <a:gd name="connsiteX23" fmla="*/ 80887 w 216516"/>
                <a:gd name="connsiteY23" fmla="*/ 6241 h 291838"/>
                <a:gd name="connsiteX24" fmla="*/ 80887 w 216516"/>
                <a:gd name="connsiteY24" fmla="*/ 6697 h 291838"/>
                <a:gd name="connsiteX25" fmla="*/ 80583 w 216516"/>
                <a:gd name="connsiteY25" fmla="*/ 13284 h 291838"/>
                <a:gd name="connsiteX26" fmla="*/ 80583 w 216516"/>
                <a:gd name="connsiteY26" fmla="*/ 13284 h 291838"/>
                <a:gd name="connsiteX27" fmla="*/ 80583 w 216516"/>
                <a:gd name="connsiteY27" fmla="*/ 13284 h 291838"/>
                <a:gd name="connsiteX28" fmla="*/ 80583 w 216516"/>
                <a:gd name="connsiteY28" fmla="*/ 13284 h 291838"/>
                <a:gd name="connsiteX29" fmla="*/ 80583 w 216516"/>
                <a:gd name="connsiteY29" fmla="*/ 13284 h 291838"/>
                <a:gd name="connsiteX30" fmla="*/ 80583 w 216516"/>
                <a:gd name="connsiteY30" fmla="*/ 13284 h 291838"/>
                <a:gd name="connsiteX31" fmla="*/ 80583 w 216516"/>
                <a:gd name="connsiteY31" fmla="*/ 13284 h 291838"/>
                <a:gd name="connsiteX32" fmla="*/ 80583 w 216516"/>
                <a:gd name="connsiteY32" fmla="*/ 13284 h 291838"/>
                <a:gd name="connsiteX33" fmla="*/ 80583 w 216516"/>
                <a:gd name="connsiteY33" fmla="*/ 13284 h 291838"/>
                <a:gd name="connsiteX34" fmla="*/ 80583 w 216516"/>
                <a:gd name="connsiteY34" fmla="*/ 13284 h 291838"/>
                <a:gd name="connsiteX35" fmla="*/ 80583 w 216516"/>
                <a:gd name="connsiteY35" fmla="*/ 13284 h 291838"/>
                <a:gd name="connsiteX36" fmla="*/ 81698 w 216516"/>
                <a:gd name="connsiteY36" fmla="*/ 13284 h 291838"/>
                <a:gd name="connsiteX37" fmla="*/ 81698 w 216516"/>
                <a:gd name="connsiteY37" fmla="*/ 13284 h 291838"/>
                <a:gd name="connsiteX38" fmla="*/ 81698 w 216516"/>
                <a:gd name="connsiteY38" fmla="*/ 13284 h 291838"/>
                <a:gd name="connsiteX39" fmla="*/ 81698 w 216516"/>
                <a:gd name="connsiteY39" fmla="*/ 13284 h 291838"/>
                <a:gd name="connsiteX40" fmla="*/ 81698 w 216516"/>
                <a:gd name="connsiteY40" fmla="*/ 13284 h 291838"/>
                <a:gd name="connsiteX41" fmla="*/ 82965 w 216516"/>
                <a:gd name="connsiteY41" fmla="*/ 12676 h 291838"/>
                <a:gd name="connsiteX42" fmla="*/ 84231 w 216516"/>
                <a:gd name="connsiteY42" fmla="*/ 12169 h 291838"/>
                <a:gd name="connsiteX43" fmla="*/ 86866 w 216516"/>
                <a:gd name="connsiteY43" fmla="*/ 12169 h 291838"/>
                <a:gd name="connsiteX44" fmla="*/ 92794 w 216516"/>
                <a:gd name="connsiteY44" fmla="*/ 17235 h 291838"/>
                <a:gd name="connsiteX45" fmla="*/ 94516 w 216516"/>
                <a:gd name="connsiteY45" fmla="*/ 21491 h 291838"/>
                <a:gd name="connsiteX46" fmla="*/ 94972 w 216516"/>
                <a:gd name="connsiteY46" fmla="*/ 25443 h 291838"/>
                <a:gd name="connsiteX47" fmla="*/ 94313 w 216516"/>
                <a:gd name="connsiteY47" fmla="*/ 35019 h 291838"/>
                <a:gd name="connsiteX48" fmla="*/ 94060 w 216516"/>
                <a:gd name="connsiteY48" fmla="*/ 35981 h 291838"/>
                <a:gd name="connsiteX49" fmla="*/ 81546 w 216516"/>
                <a:gd name="connsiteY49" fmla="*/ 66380 h 291838"/>
                <a:gd name="connsiteX50" fmla="*/ 59608 w 216516"/>
                <a:gd name="connsiteY50" fmla="*/ 62529 h 291838"/>
                <a:gd name="connsiteX51" fmla="*/ 53478 w 216516"/>
                <a:gd name="connsiteY51" fmla="*/ 59287 h 291838"/>
                <a:gd name="connsiteX52" fmla="*/ 19735 w 216516"/>
                <a:gd name="connsiteY52" fmla="*/ 50319 h 291838"/>
                <a:gd name="connsiteX53" fmla="*/ 7981 w 216516"/>
                <a:gd name="connsiteY53" fmla="*/ 67849 h 291838"/>
                <a:gd name="connsiteX54" fmla="*/ 6512 w 216516"/>
                <a:gd name="connsiteY54" fmla="*/ 102250 h 291838"/>
                <a:gd name="connsiteX55" fmla="*/ 5600 w 216516"/>
                <a:gd name="connsiteY55" fmla="*/ 122516 h 291838"/>
                <a:gd name="connsiteX56" fmla="*/ 1750 w 216516"/>
                <a:gd name="connsiteY56" fmla="*/ 210774 h 291838"/>
                <a:gd name="connsiteX57" fmla="*/ 990 w 216516"/>
                <a:gd name="connsiteY57" fmla="*/ 227847 h 291838"/>
                <a:gd name="connsiteX58" fmla="*/ 432 w 216516"/>
                <a:gd name="connsiteY58" fmla="*/ 240514 h 291838"/>
                <a:gd name="connsiteX59" fmla="*/ 128 w 216516"/>
                <a:gd name="connsiteY59" fmla="*/ 247303 h 291838"/>
                <a:gd name="connsiteX60" fmla="*/ 128 w 216516"/>
                <a:gd name="connsiteY60" fmla="*/ 247759 h 291838"/>
                <a:gd name="connsiteX61" fmla="*/ 128 w 216516"/>
                <a:gd name="connsiteY61" fmla="*/ 248772 h 291838"/>
                <a:gd name="connsiteX62" fmla="*/ 939 w 216516"/>
                <a:gd name="connsiteY62" fmla="*/ 249126 h 291838"/>
                <a:gd name="connsiteX63" fmla="*/ 1598 w 216516"/>
                <a:gd name="connsiteY63" fmla="*/ 249126 h 291838"/>
                <a:gd name="connsiteX64" fmla="*/ 1598 w 216516"/>
                <a:gd name="connsiteY64" fmla="*/ 249127 h 291838"/>
                <a:gd name="connsiteX65" fmla="*/ 14162 w 216516"/>
                <a:gd name="connsiteY65" fmla="*/ 237828 h 291838"/>
                <a:gd name="connsiteX66" fmla="*/ 18418 w 216516"/>
                <a:gd name="connsiteY66" fmla="*/ 234029 h 291838"/>
                <a:gd name="connsiteX67" fmla="*/ 19178 w 216516"/>
                <a:gd name="connsiteY67" fmla="*/ 233319 h 291838"/>
                <a:gd name="connsiteX68" fmla="*/ 35543 w 216516"/>
                <a:gd name="connsiteY68" fmla="*/ 218627 h 291838"/>
                <a:gd name="connsiteX69" fmla="*/ 35543 w 216516"/>
                <a:gd name="connsiteY69" fmla="*/ 218627 h 291838"/>
                <a:gd name="connsiteX70" fmla="*/ 36252 w 216516"/>
                <a:gd name="connsiteY70" fmla="*/ 218019 h 291838"/>
                <a:gd name="connsiteX71" fmla="*/ 44460 w 216516"/>
                <a:gd name="connsiteY71" fmla="*/ 210622 h 291838"/>
                <a:gd name="connsiteX72" fmla="*/ 49982 w 216516"/>
                <a:gd name="connsiteY72" fmla="*/ 205555 h 291838"/>
                <a:gd name="connsiteX73" fmla="*/ 50742 w 216516"/>
                <a:gd name="connsiteY73" fmla="*/ 204896 h 291838"/>
                <a:gd name="connsiteX74" fmla="*/ 56670 w 216516"/>
                <a:gd name="connsiteY74" fmla="*/ 199577 h 291838"/>
                <a:gd name="connsiteX75" fmla="*/ 45574 w 216516"/>
                <a:gd name="connsiteY75" fmla="*/ 239146 h 291838"/>
                <a:gd name="connsiteX76" fmla="*/ 39951 w 216516"/>
                <a:gd name="connsiteY76" fmla="*/ 237068 h 291838"/>
                <a:gd name="connsiteX77" fmla="*/ 35745 w 216516"/>
                <a:gd name="connsiteY77" fmla="*/ 237575 h 291838"/>
                <a:gd name="connsiteX78" fmla="*/ 35745 w 216516"/>
                <a:gd name="connsiteY78" fmla="*/ 237575 h 291838"/>
                <a:gd name="connsiteX79" fmla="*/ 35745 w 216516"/>
                <a:gd name="connsiteY79" fmla="*/ 237575 h 291838"/>
                <a:gd name="connsiteX80" fmla="*/ 27082 w 216516"/>
                <a:gd name="connsiteY80" fmla="*/ 242641 h 291838"/>
                <a:gd name="connsiteX81" fmla="*/ 26322 w 216516"/>
                <a:gd name="connsiteY81" fmla="*/ 249583 h 291838"/>
                <a:gd name="connsiteX82" fmla="*/ 25562 w 216516"/>
                <a:gd name="connsiteY82" fmla="*/ 252724 h 291838"/>
                <a:gd name="connsiteX83" fmla="*/ 16898 w 216516"/>
                <a:gd name="connsiteY83" fmla="*/ 260273 h 291838"/>
                <a:gd name="connsiteX84" fmla="*/ 14416 w 216516"/>
                <a:gd name="connsiteY84" fmla="*/ 260273 h 291838"/>
                <a:gd name="connsiteX85" fmla="*/ 13048 w 216516"/>
                <a:gd name="connsiteY85" fmla="*/ 261489 h 291838"/>
                <a:gd name="connsiteX86" fmla="*/ 14010 w 216516"/>
                <a:gd name="connsiteY86" fmla="*/ 262958 h 291838"/>
                <a:gd name="connsiteX87" fmla="*/ 15986 w 216516"/>
                <a:gd name="connsiteY87" fmla="*/ 263566 h 291838"/>
                <a:gd name="connsiteX88" fmla="*/ 21053 w 216516"/>
                <a:gd name="connsiteY88" fmla="*/ 273395 h 291838"/>
                <a:gd name="connsiteX89" fmla="*/ 21407 w 216516"/>
                <a:gd name="connsiteY89" fmla="*/ 275320 h 291838"/>
                <a:gd name="connsiteX90" fmla="*/ 26981 w 216516"/>
                <a:gd name="connsiteY90" fmla="*/ 283477 h 291838"/>
                <a:gd name="connsiteX91" fmla="*/ 100444 w 216516"/>
                <a:gd name="connsiteY91" fmla="*/ 291837 h 291838"/>
                <a:gd name="connsiteX92" fmla="*/ 115289 w 216516"/>
                <a:gd name="connsiteY92" fmla="*/ 291837 h 291838"/>
                <a:gd name="connsiteX93" fmla="*/ 117416 w 216516"/>
                <a:gd name="connsiteY93" fmla="*/ 291837 h 291838"/>
                <a:gd name="connsiteX94" fmla="*/ 188752 w 216516"/>
                <a:gd name="connsiteY94" fmla="*/ 283477 h 291838"/>
                <a:gd name="connsiteX95" fmla="*/ 194325 w 216516"/>
                <a:gd name="connsiteY95" fmla="*/ 275320 h 291838"/>
                <a:gd name="connsiteX96" fmla="*/ 194680 w 216516"/>
                <a:gd name="connsiteY96" fmla="*/ 273395 h 291838"/>
                <a:gd name="connsiteX97" fmla="*/ 199746 w 216516"/>
                <a:gd name="connsiteY97" fmla="*/ 263566 h 291838"/>
                <a:gd name="connsiteX98" fmla="*/ 201722 w 216516"/>
                <a:gd name="connsiteY98" fmla="*/ 262958 h 291838"/>
                <a:gd name="connsiteX99" fmla="*/ 202735 w 216516"/>
                <a:gd name="connsiteY99" fmla="*/ 261489 h 291838"/>
                <a:gd name="connsiteX100" fmla="*/ 201368 w 216516"/>
                <a:gd name="connsiteY100" fmla="*/ 260273 h 291838"/>
                <a:gd name="connsiteX101" fmla="*/ 198834 w 216516"/>
                <a:gd name="connsiteY101" fmla="*/ 260273 h 291838"/>
                <a:gd name="connsiteX102" fmla="*/ 190221 w 216516"/>
                <a:gd name="connsiteY102" fmla="*/ 252724 h 291838"/>
                <a:gd name="connsiteX103" fmla="*/ 189411 w 216516"/>
                <a:gd name="connsiteY103" fmla="*/ 249582 h 291838"/>
                <a:gd name="connsiteX104" fmla="*/ 188701 w 216516"/>
                <a:gd name="connsiteY104" fmla="*/ 242641 h 291838"/>
                <a:gd name="connsiteX105" fmla="*/ 179987 w 216516"/>
                <a:gd name="connsiteY105" fmla="*/ 237575 h 291838"/>
                <a:gd name="connsiteX106" fmla="*/ 179987 w 216516"/>
                <a:gd name="connsiteY106" fmla="*/ 237575 h 291838"/>
                <a:gd name="connsiteX107" fmla="*/ 179987 w 216516"/>
                <a:gd name="connsiteY107" fmla="*/ 237575 h 291838"/>
                <a:gd name="connsiteX108" fmla="*/ 175782 w 216516"/>
                <a:gd name="connsiteY108" fmla="*/ 237068 h 291838"/>
                <a:gd name="connsiteX109" fmla="*/ 170209 w 216516"/>
                <a:gd name="connsiteY109" fmla="*/ 239146 h 291838"/>
                <a:gd name="connsiteX110" fmla="*/ 159063 w 216516"/>
                <a:gd name="connsiteY110" fmla="*/ 199577 h 291838"/>
                <a:gd name="connsiteX111" fmla="*/ 165750 w 216516"/>
                <a:gd name="connsiteY111" fmla="*/ 205555 h 291838"/>
                <a:gd name="connsiteX112" fmla="*/ 170513 w 216516"/>
                <a:gd name="connsiteY112" fmla="*/ 209811 h 291838"/>
                <a:gd name="connsiteX113" fmla="*/ 171273 w 216516"/>
                <a:gd name="connsiteY113" fmla="*/ 210520 h 291838"/>
                <a:gd name="connsiteX114" fmla="*/ 180190 w 216516"/>
                <a:gd name="connsiteY114" fmla="*/ 218525 h 291838"/>
                <a:gd name="connsiteX115" fmla="*/ 180190 w 216516"/>
                <a:gd name="connsiteY115" fmla="*/ 218525 h 291838"/>
                <a:gd name="connsiteX116" fmla="*/ 184952 w 216516"/>
                <a:gd name="connsiteY116" fmla="*/ 222781 h 291838"/>
                <a:gd name="connsiteX117" fmla="*/ 197314 w 216516"/>
                <a:gd name="connsiteY117" fmla="*/ 233927 h 291838"/>
                <a:gd name="connsiteX118" fmla="*/ 201570 w 216516"/>
                <a:gd name="connsiteY118" fmla="*/ 237727 h 291838"/>
                <a:gd name="connsiteX119" fmla="*/ 214186 w 216516"/>
                <a:gd name="connsiteY119" fmla="*/ 249025 h 291838"/>
                <a:gd name="connsiteX120" fmla="*/ 214186 w 216516"/>
                <a:gd name="connsiteY120" fmla="*/ 249025 h 291838"/>
                <a:gd name="connsiteX121" fmla="*/ 214895 w 216516"/>
                <a:gd name="connsiteY121" fmla="*/ 249025 h 291838"/>
                <a:gd name="connsiteX122" fmla="*/ 215655 w 216516"/>
                <a:gd name="connsiteY122" fmla="*/ 248671 h 291838"/>
                <a:gd name="connsiteX123" fmla="*/ 216516 w 216516"/>
                <a:gd name="connsiteY123" fmla="*/ 248063 h 291838"/>
                <a:gd name="connsiteX124" fmla="*/ 106980 w 216516"/>
                <a:gd name="connsiteY124" fmla="*/ 6545 h 291838"/>
                <a:gd name="connsiteX125" fmla="*/ 109057 w 216516"/>
                <a:gd name="connsiteY125" fmla="*/ 8623 h 291838"/>
                <a:gd name="connsiteX126" fmla="*/ 106980 w 216516"/>
                <a:gd name="connsiteY126" fmla="*/ 10700 h 291838"/>
                <a:gd name="connsiteX127" fmla="*/ 104902 w 216516"/>
                <a:gd name="connsiteY127" fmla="*/ 8623 h 291838"/>
                <a:gd name="connsiteX128" fmla="*/ 106980 w 216516"/>
                <a:gd name="connsiteY128" fmla="*/ 6545 h 291838"/>
                <a:gd name="connsiteX129" fmla="*/ 83269 w 216516"/>
                <a:gd name="connsiteY129" fmla="*/ 68660 h 291838"/>
                <a:gd name="connsiteX130" fmla="*/ 84687 w 216516"/>
                <a:gd name="connsiteY130" fmla="*/ 66633 h 291838"/>
                <a:gd name="connsiteX131" fmla="*/ 86004 w 216516"/>
                <a:gd name="connsiteY131" fmla="*/ 64607 h 291838"/>
                <a:gd name="connsiteX132" fmla="*/ 87271 w 216516"/>
                <a:gd name="connsiteY132" fmla="*/ 62529 h 291838"/>
                <a:gd name="connsiteX133" fmla="*/ 87828 w 216516"/>
                <a:gd name="connsiteY133" fmla="*/ 61466 h 291838"/>
                <a:gd name="connsiteX134" fmla="*/ 88386 w 216516"/>
                <a:gd name="connsiteY134" fmla="*/ 60402 h 291838"/>
                <a:gd name="connsiteX135" fmla="*/ 89500 w 216516"/>
                <a:gd name="connsiteY135" fmla="*/ 58122 h 291838"/>
                <a:gd name="connsiteX136" fmla="*/ 89855 w 216516"/>
                <a:gd name="connsiteY136" fmla="*/ 57463 h 291838"/>
                <a:gd name="connsiteX137" fmla="*/ 90412 w 216516"/>
                <a:gd name="connsiteY137" fmla="*/ 56146 h 291838"/>
                <a:gd name="connsiteX138" fmla="*/ 91020 w 216516"/>
                <a:gd name="connsiteY138" fmla="*/ 54829 h 291838"/>
                <a:gd name="connsiteX139" fmla="*/ 91020 w 216516"/>
                <a:gd name="connsiteY139" fmla="*/ 54829 h 291838"/>
                <a:gd name="connsiteX140" fmla="*/ 91324 w 216516"/>
                <a:gd name="connsiteY140" fmla="*/ 54119 h 291838"/>
                <a:gd name="connsiteX141" fmla="*/ 91983 w 216516"/>
                <a:gd name="connsiteY141" fmla="*/ 52447 h 291838"/>
                <a:gd name="connsiteX142" fmla="*/ 92338 w 216516"/>
                <a:gd name="connsiteY142" fmla="*/ 51485 h 291838"/>
                <a:gd name="connsiteX143" fmla="*/ 92895 w 216516"/>
                <a:gd name="connsiteY143" fmla="*/ 49965 h 291838"/>
                <a:gd name="connsiteX144" fmla="*/ 94010 w 216516"/>
                <a:gd name="connsiteY144" fmla="*/ 46773 h 291838"/>
                <a:gd name="connsiteX145" fmla="*/ 94010 w 216516"/>
                <a:gd name="connsiteY145" fmla="*/ 46064 h 291838"/>
                <a:gd name="connsiteX146" fmla="*/ 94313 w 216516"/>
                <a:gd name="connsiteY146" fmla="*/ 45101 h 291838"/>
                <a:gd name="connsiteX147" fmla="*/ 94567 w 216516"/>
                <a:gd name="connsiteY147" fmla="*/ 44189 h 291838"/>
                <a:gd name="connsiteX148" fmla="*/ 96644 w 216516"/>
                <a:gd name="connsiteY148" fmla="*/ 36640 h 291838"/>
                <a:gd name="connsiteX149" fmla="*/ 96897 w 216516"/>
                <a:gd name="connsiteY149" fmla="*/ 35677 h 291838"/>
                <a:gd name="connsiteX150" fmla="*/ 97607 w 216516"/>
                <a:gd name="connsiteY150" fmla="*/ 25544 h 291838"/>
                <a:gd name="connsiteX151" fmla="*/ 97100 w 216516"/>
                <a:gd name="connsiteY151" fmla="*/ 21289 h 291838"/>
                <a:gd name="connsiteX152" fmla="*/ 96847 w 216516"/>
                <a:gd name="connsiteY152" fmla="*/ 20225 h 291838"/>
                <a:gd name="connsiteX153" fmla="*/ 103180 w 216516"/>
                <a:gd name="connsiteY153" fmla="*/ 19819 h 291838"/>
                <a:gd name="connsiteX154" fmla="*/ 88842 w 216516"/>
                <a:gd name="connsiteY154" fmla="*/ 7812 h 291838"/>
                <a:gd name="connsiteX155" fmla="*/ 83775 w 216516"/>
                <a:gd name="connsiteY155" fmla="*/ 10649 h 291838"/>
                <a:gd name="connsiteX156" fmla="*/ 82914 w 216516"/>
                <a:gd name="connsiteY156" fmla="*/ 11004 h 291838"/>
                <a:gd name="connsiteX157" fmla="*/ 82509 w 216516"/>
                <a:gd name="connsiteY157" fmla="*/ 11004 h 291838"/>
                <a:gd name="connsiteX158" fmla="*/ 82509 w 216516"/>
                <a:gd name="connsiteY158" fmla="*/ 7711 h 291838"/>
                <a:gd name="connsiteX159" fmla="*/ 82509 w 216516"/>
                <a:gd name="connsiteY159" fmla="*/ 6799 h 291838"/>
                <a:gd name="connsiteX160" fmla="*/ 82509 w 216516"/>
                <a:gd name="connsiteY160" fmla="*/ 6495 h 291838"/>
                <a:gd name="connsiteX161" fmla="*/ 83117 w 216516"/>
                <a:gd name="connsiteY161" fmla="*/ 5431 h 291838"/>
                <a:gd name="connsiteX162" fmla="*/ 85802 w 216516"/>
                <a:gd name="connsiteY162" fmla="*/ 4215 h 291838"/>
                <a:gd name="connsiteX163" fmla="*/ 90007 w 216516"/>
                <a:gd name="connsiteY163" fmla="*/ 3860 h 291838"/>
                <a:gd name="connsiteX164" fmla="*/ 93047 w 216516"/>
                <a:gd name="connsiteY164" fmla="*/ 4975 h 291838"/>
                <a:gd name="connsiteX165" fmla="*/ 98721 w 216516"/>
                <a:gd name="connsiteY165" fmla="*/ 9180 h 291838"/>
                <a:gd name="connsiteX166" fmla="*/ 103484 w 216516"/>
                <a:gd name="connsiteY166" fmla="*/ 11206 h 291838"/>
                <a:gd name="connsiteX167" fmla="*/ 104700 w 216516"/>
                <a:gd name="connsiteY167" fmla="*/ 12321 h 291838"/>
                <a:gd name="connsiteX168" fmla="*/ 106523 w 216516"/>
                <a:gd name="connsiteY168" fmla="*/ 13233 h 291838"/>
                <a:gd name="connsiteX169" fmla="*/ 109310 w 216516"/>
                <a:gd name="connsiteY169" fmla="*/ 11612 h 291838"/>
                <a:gd name="connsiteX170" fmla="*/ 111337 w 216516"/>
                <a:gd name="connsiteY170" fmla="*/ 10345 h 291838"/>
                <a:gd name="connsiteX171" fmla="*/ 114731 w 216516"/>
                <a:gd name="connsiteY171" fmla="*/ 9180 h 291838"/>
                <a:gd name="connsiteX172" fmla="*/ 118886 w 216516"/>
                <a:gd name="connsiteY172" fmla="*/ 8673 h 291838"/>
                <a:gd name="connsiteX173" fmla="*/ 123344 w 216516"/>
                <a:gd name="connsiteY173" fmla="*/ 9839 h 291838"/>
                <a:gd name="connsiteX174" fmla="*/ 123750 w 216516"/>
                <a:gd name="connsiteY174" fmla="*/ 10447 h 291838"/>
                <a:gd name="connsiteX175" fmla="*/ 124661 w 216516"/>
                <a:gd name="connsiteY175" fmla="*/ 12473 h 291838"/>
                <a:gd name="connsiteX176" fmla="*/ 125725 w 216516"/>
                <a:gd name="connsiteY176" fmla="*/ 15766 h 291838"/>
                <a:gd name="connsiteX177" fmla="*/ 127245 w 216516"/>
                <a:gd name="connsiteY177" fmla="*/ 24379 h 291838"/>
                <a:gd name="connsiteX178" fmla="*/ 127245 w 216516"/>
                <a:gd name="connsiteY178" fmla="*/ 25494 h 291838"/>
                <a:gd name="connsiteX179" fmla="*/ 127245 w 216516"/>
                <a:gd name="connsiteY179" fmla="*/ 30560 h 291838"/>
                <a:gd name="connsiteX180" fmla="*/ 128157 w 216516"/>
                <a:gd name="connsiteY180" fmla="*/ 50826 h 291838"/>
                <a:gd name="connsiteX181" fmla="*/ 133730 w 216516"/>
                <a:gd name="connsiteY181" fmla="*/ 66025 h 291838"/>
                <a:gd name="connsiteX182" fmla="*/ 134997 w 216516"/>
                <a:gd name="connsiteY182" fmla="*/ 68052 h 291838"/>
                <a:gd name="connsiteX183" fmla="*/ 136365 w 216516"/>
                <a:gd name="connsiteY183" fmla="*/ 70079 h 291838"/>
                <a:gd name="connsiteX184" fmla="*/ 129728 w 216516"/>
                <a:gd name="connsiteY184" fmla="*/ 68356 h 291838"/>
                <a:gd name="connsiteX185" fmla="*/ 127347 w 216516"/>
                <a:gd name="connsiteY185" fmla="*/ 66735 h 291838"/>
                <a:gd name="connsiteX186" fmla="*/ 127347 w 216516"/>
                <a:gd name="connsiteY186" fmla="*/ 66329 h 291838"/>
                <a:gd name="connsiteX187" fmla="*/ 126384 w 216516"/>
                <a:gd name="connsiteY187" fmla="*/ 63948 h 291838"/>
                <a:gd name="connsiteX188" fmla="*/ 123243 w 216516"/>
                <a:gd name="connsiteY188" fmla="*/ 55487 h 291838"/>
                <a:gd name="connsiteX189" fmla="*/ 120406 w 216516"/>
                <a:gd name="connsiteY189" fmla="*/ 35981 h 291838"/>
                <a:gd name="connsiteX190" fmla="*/ 119394 w 216516"/>
                <a:gd name="connsiteY190" fmla="*/ 34967 h 291838"/>
                <a:gd name="connsiteX191" fmla="*/ 119342 w 216516"/>
                <a:gd name="connsiteY191" fmla="*/ 34968 h 291838"/>
                <a:gd name="connsiteX192" fmla="*/ 118375 w 216516"/>
                <a:gd name="connsiteY192" fmla="*/ 36026 h 291838"/>
                <a:gd name="connsiteX193" fmla="*/ 118379 w 216516"/>
                <a:gd name="connsiteY193" fmla="*/ 36083 h 291838"/>
                <a:gd name="connsiteX194" fmla="*/ 121267 w 216516"/>
                <a:gd name="connsiteY194" fmla="*/ 56348 h 291838"/>
                <a:gd name="connsiteX195" fmla="*/ 124459 w 216516"/>
                <a:gd name="connsiteY195" fmla="*/ 64961 h 291838"/>
                <a:gd name="connsiteX196" fmla="*/ 125117 w 216516"/>
                <a:gd name="connsiteY196" fmla="*/ 66583 h 291838"/>
                <a:gd name="connsiteX197" fmla="*/ 125928 w 216516"/>
                <a:gd name="connsiteY197" fmla="*/ 68660 h 291838"/>
                <a:gd name="connsiteX198" fmla="*/ 127397 w 216516"/>
                <a:gd name="connsiteY198" fmla="*/ 73220 h 291838"/>
                <a:gd name="connsiteX199" fmla="*/ 117923 w 216516"/>
                <a:gd name="connsiteY199" fmla="*/ 68812 h 291838"/>
                <a:gd name="connsiteX200" fmla="*/ 115947 w 216516"/>
                <a:gd name="connsiteY200" fmla="*/ 66988 h 291838"/>
                <a:gd name="connsiteX201" fmla="*/ 115947 w 216516"/>
                <a:gd name="connsiteY201" fmla="*/ 66988 h 291838"/>
                <a:gd name="connsiteX202" fmla="*/ 114326 w 216516"/>
                <a:gd name="connsiteY202" fmla="*/ 35627 h 291838"/>
                <a:gd name="connsiteX203" fmla="*/ 113364 w 216516"/>
                <a:gd name="connsiteY203" fmla="*/ 34564 h 291838"/>
                <a:gd name="connsiteX204" fmla="*/ 113312 w 216516"/>
                <a:gd name="connsiteY204" fmla="*/ 34563 h 291838"/>
                <a:gd name="connsiteX205" fmla="*/ 112249 w 216516"/>
                <a:gd name="connsiteY205" fmla="*/ 35627 h 291838"/>
                <a:gd name="connsiteX206" fmla="*/ 113819 w 216516"/>
                <a:gd name="connsiteY206" fmla="*/ 66988 h 291838"/>
                <a:gd name="connsiteX207" fmla="*/ 113819 w 216516"/>
                <a:gd name="connsiteY207" fmla="*/ 67495 h 291838"/>
                <a:gd name="connsiteX208" fmla="*/ 112654 w 216516"/>
                <a:gd name="connsiteY208" fmla="*/ 69065 h 291838"/>
                <a:gd name="connsiteX209" fmla="*/ 110121 w 216516"/>
                <a:gd name="connsiteY209" fmla="*/ 71801 h 291838"/>
                <a:gd name="connsiteX210" fmla="*/ 108854 w 216516"/>
                <a:gd name="connsiteY210" fmla="*/ 73068 h 291838"/>
                <a:gd name="connsiteX211" fmla="*/ 108044 w 216516"/>
                <a:gd name="connsiteY211" fmla="*/ 72460 h 291838"/>
                <a:gd name="connsiteX212" fmla="*/ 104750 w 216516"/>
                <a:gd name="connsiteY212" fmla="*/ 69065 h 291838"/>
                <a:gd name="connsiteX213" fmla="*/ 103028 w 216516"/>
                <a:gd name="connsiteY213" fmla="*/ 66988 h 291838"/>
                <a:gd name="connsiteX214" fmla="*/ 103028 w 216516"/>
                <a:gd name="connsiteY214" fmla="*/ 66988 h 291838"/>
                <a:gd name="connsiteX215" fmla="*/ 109564 w 216516"/>
                <a:gd name="connsiteY215" fmla="*/ 34968 h 291838"/>
                <a:gd name="connsiteX216" fmla="*/ 108708 w 216516"/>
                <a:gd name="connsiteY216" fmla="*/ 33909 h 291838"/>
                <a:gd name="connsiteX217" fmla="*/ 108601 w 216516"/>
                <a:gd name="connsiteY217" fmla="*/ 33904 h 291838"/>
                <a:gd name="connsiteX218" fmla="*/ 107490 w 216516"/>
                <a:gd name="connsiteY218" fmla="*/ 34810 h 291838"/>
                <a:gd name="connsiteX219" fmla="*/ 107486 w 216516"/>
                <a:gd name="connsiteY219" fmla="*/ 34867 h 291838"/>
                <a:gd name="connsiteX220" fmla="*/ 100444 w 216516"/>
                <a:gd name="connsiteY220" fmla="*/ 66988 h 291838"/>
                <a:gd name="connsiteX221" fmla="*/ 98721 w 216516"/>
                <a:gd name="connsiteY221" fmla="*/ 69065 h 291838"/>
                <a:gd name="connsiteX222" fmla="*/ 92895 w 216516"/>
                <a:gd name="connsiteY222" fmla="*/ 73422 h 291838"/>
                <a:gd name="connsiteX223" fmla="*/ 93706 w 216516"/>
                <a:gd name="connsiteY223" fmla="*/ 68964 h 291838"/>
                <a:gd name="connsiteX224" fmla="*/ 94111 w 216516"/>
                <a:gd name="connsiteY224" fmla="*/ 66887 h 291838"/>
                <a:gd name="connsiteX225" fmla="*/ 94111 w 216516"/>
                <a:gd name="connsiteY225" fmla="*/ 66279 h 291838"/>
                <a:gd name="connsiteX226" fmla="*/ 104244 w 216516"/>
                <a:gd name="connsiteY226" fmla="*/ 35880 h 291838"/>
                <a:gd name="connsiteX227" fmla="*/ 103382 w 216516"/>
                <a:gd name="connsiteY227" fmla="*/ 34715 h 291838"/>
                <a:gd name="connsiteX228" fmla="*/ 102217 w 216516"/>
                <a:gd name="connsiteY228" fmla="*/ 35576 h 291838"/>
                <a:gd name="connsiteX229" fmla="*/ 91122 w 216516"/>
                <a:gd name="connsiteY229" fmla="*/ 66785 h 291838"/>
                <a:gd name="connsiteX230" fmla="*/ 88791 w 216516"/>
                <a:gd name="connsiteY230" fmla="*/ 68812 h 291838"/>
                <a:gd name="connsiteX231" fmla="*/ 84941 w 216516"/>
                <a:gd name="connsiteY231" fmla="*/ 70687 h 291838"/>
                <a:gd name="connsiteX232" fmla="*/ 81546 w 216516"/>
                <a:gd name="connsiteY232" fmla="*/ 71294 h 291838"/>
                <a:gd name="connsiteX233" fmla="*/ 83218 w 216516"/>
                <a:gd name="connsiteY233" fmla="*/ 68660 h 291838"/>
                <a:gd name="connsiteX234" fmla="*/ 68728 w 216516"/>
                <a:gd name="connsiteY234" fmla="*/ 195726 h 291838"/>
                <a:gd name="connsiteX235" fmla="*/ 73288 w 216516"/>
                <a:gd name="connsiteY235" fmla="*/ 207531 h 291838"/>
                <a:gd name="connsiteX236" fmla="*/ 73896 w 216516"/>
                <a:gd name="connsiteY236" fmla="*/ 207987 h 291838"/>
                <a:gd name="connsiteX237" fmla="*/ 74605 w 216516"/>
                <a:gd name="connsiteY237" fmla="*/ 207683 h 291838"/>
                <a:gd name="connsiteX238" fmla="*/ 82103 w 216516"/>
                <a:gd name="connsiteY238" fmla="*/ 197550 h 291838"/>
                <a:gd name="connsiteX239" fmla="*/ 85903 w 216516"/>
                <a:gd name="connsiteY239" fmla="*/ 216397 h 291838"/>
                <a:gd name="connsiteX240" fmla="*/ 77341 w 216516"/>
                <a:gd name="connsiteY240" fmla="*/ 228607 h 291838"/>
                <a:gd name="connsiteX241" fmla="*/ 72882 w 216516"/>
                <a:gd name="connsiteY241" fmla="*/ 215789 h 291838"/>
                <a:gd name="connsiteX242" fmla="*/ 72275 w 216516"/>
                <a:gd name="connsiteY242" fmla="*/ 215283 h 291838"/>
                <a:gd name="connsiteX243" fmla="*/ 71515 w 216516"/>
                <a:gd name="connsiteY243" fmla="*/ 215587 h 291838"/>
                <a:gd name="connsiteX244" fmla="*/ 63560 w 216516"/>
                <a:gd name="connsiteY244" fmla="*/ 227391 h 291838"/>
                <a:gd name="connsiteX245" fmla="*/ 57480 w 216516"/>
                <a:gd name="connsiteY245" fmla="*/ 206771 h 291838"/>
                <a:gd name="connsiteX246" fmla="*/ 63662 w 216516"/>
                <a:gd name="connsiteY246" fmla="*/ 113447 h 291838"/>
                <a:gd name="connsiteX247" fmla="*/ 67259 w 216516"/>
                <a:gd name="connsiteY247" fmla="*/ 129609 h 291838"/>
                <a:gd name="connsiteX248" fmla="*/ 64725 w 216516"/>
                <a:gd name="connsiteY248" fmla="*/ 190761 h 291838"/>
                <a:gd name="connsiteX249" fmla="*/ 63965 w 216516"/>
                <a:gd name="connsiteY249" fmla="*/ 191470 h 291838"/>
                <a:gd name="connsiteX250" fmla="*/ 62142 w 216516"/>
                <a:gd name="connsiteY250" fmla="*/ 193092 h 291838"/>
                <a:gd name="connsiteX251" fmla="*/ 60267 w 216516"/>
                <a:gd name="connsiteY251" fmla="*/ 194764 h 291838"/>
                <a:gd name="connsiteX252" fmla="*/ 157593 w 216516"/>
                <a:gd name="connsiteY252" fmla="*/ 194510 h 291838"/>
                <a:gd name="connsiteX253" fmla="*/ 155719 w 216516"/>
                <a:gd name="connsiteY253" fmla="*/ 192838 h 291838"/>
                <a:gd name="connsiteX254" fmla="*/ 153895 w 216516"/>
                <a:gd name="connsiteY254" fmla="*/ 191217 h 291838"/>
                <a:gd name="connsiteX255" fmla="*/ 153135 w 216516"/>
                <a:gd name="connsiteY255" fmla="*/ 190508 h 291838"/>
                <a:gd name="connsiteX256" fmla="*/ 150602 w 216516"/>
                <a:gd name="connsiteY256" fmla="*/ 129356 h 291838"/>
                <a:gd name="connsiteX257" fmla="*/ 154199 w 216516"/>
                <a:gd name="connsiteY257" fmla="*/ 113194 h 291838"/>
                <a:gd name="connsiteX258" fmla="*/ 150804 w 216516"/>
                <a:gd name="connsiteY258" fmla="*/ 243756 h 291838"/>
                <a:gd name="connsiteX259" fmla="*/ 154655 w 216516"/>
                <a:gd name="connsiteY259" fmla="*/ 230634 h 291838"/>
                <a:gd name="connsiteX260" fmla="*/ 162052 w 216516"/>
                <a:gd name="connsiteY260" fmla="*/ 241628 h 291838"/>
                <a:gd name="connsiteX261" fmla="*/ 150551 w 216516"/>
                <a:gd name="connsiteY261" fmla="*/ 244009 h 291838"/>
                <a:gd name="connsiteX262" fmla="*/ 149234 w 216516"/>
                <a:gd name="connsiteY262" fmla="*/ 243756 h 291838"/>
                <a:gd name="connsiteX263" fmla="*/ 142445 w 216516"/>
                <a:gd name="connsiteY263" fmla="*/ 235194 h 291838"/>
                <a:gd name="connsiteX264" fmla="*/ 141735 w 216516"/>
                <a:gd name="connsiteY264" fmla="*/ 234890 h 291838"/>
                <a:gd name="connsiteX265" fmla="*/ 141127 w 216516"/>
                <a:gd name="connsiteY265" fmla="*/ 235346 h 291838"/>
                <a:gd name="connsiteX266" fmla="*/ 137378 w 216516"/>
                <a:gd name="connsiteY266" fmla="*/ 245023 h 291838"/>
                <a:gd name="connsiteX267" fmla="*/ 130437 w 216516"/>
                <a:gd name="connsiteY267" fmla="*/ 245023 h 291838"/>
                <a:gd name="connsiteX268" fmla="*/ 128005 w 216516"/>
                <a:gd name="connsiteY268" fmla="*/ 233573 h 291838"/>
                <a:gd name="connsiteX269" fmla="*/ 130994 w 216516"/>
                <a:gd name="connsiteY269" fmla="*/ 218373 h 291838"/>
                <a:gd name="connsiteX270" fmla="*/ 140519 w 216516"/>
                <a:gd name="connsiteY270" fmla="*/ 230786 h 291838"/>
                <a:gd name="connsiteX271" fmla="*/ 141077 w 216516"/>
                <a:gd name="connsiteY271" fmla="*/ 230127 h 291838"/>
                <a:gd name="connsiteX272" fmla="*/ 145333 w 216516"/>
                <a:gd name="connsiteY272" fmla="*/ 217563 h 291838"/>
                <a:gd name="connsiteX273" fmla="*/ 153186 w 216516"/>
                <a:gd name="connsiteY273" fmla="*/ 229165 h 291838"/>
                <a:gd name="connsiteX274" fmla="*/ 147663 w 216516"/>
                <a:gd name="connsiteY274" fmla="*/ 244212 h 291838"/>
                <a:gd name="connsiteX275" fmla="*/ 139405 w 216516"/>
                <a:gd name="connsiteY275" fmla="*/ 244769 h 291838"/>
                <a:gd name="connsiteX276" fmla="*/ 142394 w 216516"/>
                <a:gd name="connsiteY276" fmla="*/ 237018 h 291838"/>
                <a:gd name="connsiteX277" fmla="*/ 117264 w 216516"/>
                <a:gd name="connsiteY277" fmla="*/ 251862 h 291838"/>
                <a:gd name="connsiteX278" fmla="*/ 117822 w 216516"/>
                <a:gd name="connsiteY278" fmla="*/ 252724 h 291838"/>
                <a:gd name="connsiteX279" fmla="*/ 119088 w 216516"/>
                <a:gd name="connsiteY279" fmla="*/ 254092 h 291838"/>
                <a:gd name="connsiteX280" fmla="*/ 119088 w 216516"/>
                <a:gd name="connsiteY280" fmla="*/ 254598 h 291838"/>
                <a:gd name="connsiteX281" fmla="*/ 116454 w 216516"/>
                <a:gd name="connsiteY281" fmla="*/ 257132 h 291838"/>
                <a:gd name="connsiteX282" fmla="*/ 115187 w 216516"/>
                <a:gd name="connsiteY282" fmla="*/ 257891 h 291838"/>
                <a:gd name="connsiteX283" fmla="*/ 113313 w 216516"/>
                <a:gd name="connsiteY283" fmla="*/ 260019 h 291838"/>
                <a:gd name="connsiteX284" fmla="*/ 111793 w 216516"/>
                <a:gd name="connsiteY284" fmla="*/ 254548 h 291838"/>
                <a:gd name="connsiteX285" fmla="*/ 111793 w 216516"/>
                <a:gd name="connsiteY285" fmla="*/ 251761 h 291838"/>
                <a:gd name="connsiteX286" fmla="*/ 112502 w 216516"/>
                <a:gd name="connsiteY286" fmla="*/ 249937 h 291838"/>
                <a:gd name="connsiteX287" fmla="*/ 115897 w 216516"/>
                <a:gd name="connsiteY287" fmla="*/ 248417 h 291838"/>
                <a:gd name="connsiteX288" fmla="*/ 116454 w 216516"/>
                <a:gd name="connsiteY288" fmla="*/ 250545 h 291838"/>
                <a:gd name="connsiteX289" fmla="*/ 117366 w 216516"/>
                <a:gd name="connsiteY289" fmla="*/ 251812 h 291838"/>
                <a:gd name="connsiteX290" fmla="*/ 116353 w 216516"/>
                <a:gd name="connsiteY290" fmla="*/ 246796 h 291838"/>
                <a:gd name="connsiteX291" fmla="*/ 111286 w 216516"/>
                <a:gd name="connsiteY291" fmla="*/ 248975 h 291838"/>
                <a:gd name="connsiteX292" fmla="*/ 110323 w 216516"/>
                <a:gd name="connsiteY292" fmla="*/ 251660 h 291838"/>
                <a:gd name="connsiteX293" fmla="*/ 107436 w 216516"/>
                <a:gd name="connsiteY293" fmla="*/ 251660 h 291838"/>
                <a:gd name="connsiteX294" fmla="*/ 106473 w 216516"/>
                <a:gd name="connsiteY294" fmla="*/ 248975 h 291838"/>
                <a:gd name="connsiteX295" fmla="*/ 101406 w 216516"/>
                <a:gd name="connsiteY295" fmla="*/ 246796 h 291838"/>
                <a:gd name="connsiteX296" fmla="*/ 97100 w 216516"/>
                <a:gd name="connsiteY296" fmla="*/ 244465 h 291838"/>
                <a:gd name="connsiteX297" fmla="*/ 92338 w 216516"/>
                <a:gd name="connsiteY297" fmla="*/ 244465 h 291838"/>
                <a:gd name="connsiteX298" fmla="*/ 88791 w 216516"/>
                <a:gd name="connsiteY298" fmla="*/ 244465 h 291838"/>
                <a:gd name="connsiteX299" fmla="*/ 90564 w 216516"/>
                <a:gd name="connsiteY299" fmla="*/ 236156 h 291838"/>
                <a:gd name="connsiteX300" fmla="*/ 94111 w 216516"/>
                <a:gd name="connsiteY300" fmla="*/ 241932 h 291838"/>
                <a:gd name="connsiteX301" fmla="*/ 95038 w 216516"/>
                <a:gd name="connsiteY301" fmla="*/ 242018 h 291838"/>
                <a:gd name="connsiteX302" fmla="*/ 95124 w 216516"/>
                <a:gd name="connsiteY302" fmla="*/ 241932 h 291838"/>
                <a:gd name="connsiteX303" fmla="*/ 100951 w 216516"/>
                <a:gd name="connsiteY303" fmla="*/ 236866 h 291838"/>
                <a:gd name="connsiteX304" fmla="*/ 100951 w 216516"/>
                <a:gd name="connsiteY304" fmla="*/ 236410 h 291838"/>
                <a:gd name="connsiteX305" fmla="*/ 105409 w 216516"/>
                <a:gd name="connsiteY305" fmla="*/ 201553 h 291838"/>
                <a:gd name="connsiteX306" fmla="*/ 103180 w 216516"/>
                <a:gd name="connsiteY306" fmla="*/ 236714 h 291838"/>
                <a:gd name="connsiteX307" fmla="*/ 103180 w 216516"/>
                <a:gd name="connsiteY307" fmla="*/ 237220 h 291838"/>
                <a:gd name="connsiteX308" fmla="*/ 108246 w 216516"/>
                <a:gd name="connsiteY308" fmla="*/ 243148 h 291838"/>
                <a:gd name="connsiteX309" fmla="*/ 109247 w 216516"/>
                <a:gd name="connsiteY309" fmla="*/ 243211 h 291838"/>
                <a:gd name="connsiteX310" fmla="*/ 109310 w 216516"/>
                <a:gd name="connsiteY310" fmla="*/ 243148 h 291838"/>
                <a:gd name="connsiteX311" fmla="*/ 114377 w 216516"/>
                <a:gd name="connsiteY311" fmla="*/ 237220 h 291838"/>
                <a:gd name="connsiteX312" fmla="*/ 114377 w 216516"/>
                <a:gd name="connsiteY312" fmla="*/ 236714 h 291838"/>
                <a:gd name="connsiteX313" fmla="*/ 112046 w 216516"/>
                <a:gd name="connsiteY313" fmla="*/ 202211 h 291838"/>
                <a:gd name="connsiteX314" fmla="*/ 116454 w 216516"/>
                <a:gd name="connsiteY314" fmla="*/ 237068 h 291838"/>
                <a:gd name="connsiteX315" fmla="*/ 116707 w 216516"/>
                <a:gd name="connsiteY315" fmla="*/ 237524 h 291838"/>
                <a:gd name="connsiteX316" fmla="*/ 122534 w 216516"/>
                <a:gd name="connsiteY316" fmla="*/ 242591 h 291838"/>
                <a:gd name="connsiteX317" fmla="*/ 123461 w 216516"/>
                <a:gd name="connsiteY317" fmla="*/ 242677 h 291838"/>
                <a:gd name="connsiteX318" fmla="*/ 123547 w 216516"/>
                <a:gd name="connsiteY318" fmla="*/ 242591 h 291838"/>
                <a:gd name="connsiteX319" fmla="*/ 127093 w 216516"/>
                <a:gd name="connsiteY319" fmla="*/ 236815 h 291838"/>
                <a:gd name="connsiteX320" fmla="*/ 128867 w 216516"/>
                <a:gd name="connsiteY320" fmla="*/ 245124 h 291838"/>
                <a:gd name="connsiteX321" fmla="*/ 125371 w 216516"/>
                <a:gd name="connsiteY321" fmla="*/ 245124 h 291838"/>
                <a:gd name="connsiteX322" fmla="*/ 120558 w 216516"/>
                <a:gd name="connsiteY322" fmla="*/ 245124 h 291838"/>
                <a:gd name="connsiteX323" fmla="*/ 116353 w 216516"/>
                <a:gd name="connsiteY323" fmla="*/ 247303 h 291838"/>
                <a:gd name="connsiteX324" fmla="*/ 105662 w 216516"/>
                <a:gd name="connsiteY324" fmla="*/ 254446 h 291838"/>
                <a:gd name="connsiteX325" fmla="*/ 104193 w 216516"/>
                <a:gd name="connsiteY325" fmla="*/ 259918 h 291838"/>
                <a:gd name="connsiteX326" fmla="*/ 102268 w 216516"/>
                <a:gd name="connsiteY326" fmla="*/ 257790 h 291838"/>
                <a:gd name="connsiteX327" fmla="*/ 101001 w 216516"/>
                <a:gd name="connsiteY327" fmla="*/ 257030 h 291838"/>
                <a:gd name="connsiteX328" fmla="*/ 98367 w 216516"/>
                <a:gd name="connsiteY328" fmla="*/ 254497 h 291838"/>
                <a:gd name="connsiteX329" fmla="*/ 98367 w 216516"/>
                <a:gd name="connsiteY329" fmla="*/ 253990 h 291838"/>
                <a:gd name="connsiteX330" fmla="*/ 99633 w 216516"/>
                <a:gd name="connsiteY330" fmla="*/ 252622 h 291838"/>
                <a:gd name="connsiteX331" fmla="*/ 100191 w 216516"/>
                <a:gd name="connsiteY331" fmla="*/ 251761 h 291838"/>
                <a:gd name="connsiteX332" fmla="*/ 100191 w 216516"/>
                <a:gd name="connsiteY332" fmla="*/ 251761 h 291838"/>
                <a:gd name="connsiteX333" fmla="*/ 101103 w 216516"/>
                <a:gd name="connsiteY333" fmla="*/ 250494 h 291838"/>
                <a:gd name="connsiteX334" fmla="*/ 101660 w 216516"/>
                <a:gd name="connsiteY334" fmla="*/ 248367 h 291838"/>
                <a:gd name="connsiteX335" fmla="*/ 105054 w 216516"/>
                <a:gd name="connsiteY335" fmla="*/ 249887 h 291838"/>
                <a:gd name="connsiteX336" fmla="*/ 105764 w 216516"/>
                <a:gd name="connsiteY336" fmla="*/ 251710 h 291838"/>
                <a:gd name="connsiteX337" fmla="*/ 105662 w 216516"/>
                <a:gd name="connsiteY337" fmla="*/ 254750 h 291838"/>
                <a:gd name="connsiteX338" fmla="*/ 76125 w 216516"/>
                <a:gd name="connsiteY338" fmla="*/ 235042 h 291838"/>
                <a:gd name="connsiteX339" fmla="*/ 75517 w 216516"/>
                <a:gd name="connsiteY339" fmla="*/ 234586 h 291838"/>
                <a:gd name="connsiteX340" fmla="*/ 74808 w 216516"/>
                <a:gd name="connsiteY340" fmla="*/ 234890 h 291838"/>
                <a:gd name="connsiteX341" fmla="*/ 68424 w 216516"/>
                <a:gd name="connsiteY341" fmla="*/ 243655 h 291838"/>
                <a:gd name="connsiteX342" fmla="*/ 64067 w 216516"/>
                <a:gd name="connsiteY342" fmla="*/ 228962 h 291838"/>
                <a:gd name="connsiteX343" fmla="*/ 71920 w 216516"/>
                <a:gd name="connsiteY343" fmla="*/ 217360 h 291838"/>
                <a:gd name="connsiteX344" fmla="*/ 76176 w 216516"/>
                <a:gd name="connsiteY344" fmla="*/ 229925 h 291838"/>
                <a:gd name="connsiteX345" fmla="*/ 76733 w 216516"/>
                <a:gd name="connsiteY345" fmla="*/ 230583 h 291838"/>
                <a:gd name="connsiteX346" fmla="*/ 86258 w 216516"/>
                <a:gd name="connsiteY346" fmla="*/ 218171 h 291838"/>
                <a:gd name="connsiteX347" fmla="*/ 89247 w 216516"/>
                <a:gd name="connsiteY347" fmla="*/ 233370 h 291838"/>
                <a:gd name="connsiteX348" fmla="*/ 86815 w 216516"/>
                <a:gd name="connsiteY348" fmla="*/ 244820 h 291838"/>
                <a:gd name="connsiteX349" fmla="*/ 79874 w 216516"/>
                <a:gd name="connsiteY349" fmla="*/ 244820 h 291838"/>
                <a:gd name="connsiteX350" fmla="*/ 78202 w 216516"/>
                <a:gd name="connsiteY350" fmla="*/ 244668 h 291838"/>
                <a:gd name="connsiteX351" fmla="*/ 69995 w 216516"/>
                <a:gd name="connsiteY351" fmla="*/ 244111 h 291838"/>
                <a:gd name="connsiteX352" fmla="*/ 75061 w 216516"/>
                <a:gd name="connsiteY352" fmla="*/ 236916 h 291838"/>
                <a:gd name="connsiteX353" fmla="*/ 66853 w 216516"/>
                <a:gd name="connsiteY353" fmla="*/ 243705 h 291838"/>
                <a:gd name="connsiteX354" fmla="*/ 55555 w 216516"/>
                <a:gd name="connsiteY354" fmla="*/ 241578 h 291838"/>
                <a:gd name="connsiteX355" fmla="*/ 62952 w 216516"/>
                <a:gd name="connsiteY355" fmla="*/ 230583 h 291838"/>
                <a:gd name="connsiteX356" fmla="*/ 87423 w 216516"/>
                <a:gd name="connsiteY356" fmla="*/ 216397 h 291838"/>
                <a:gd name="connsiteX357" fmla="*/ 87423 w 216516"/>
                <a:gd name="connsiteY357" fmla="*/ 216397 h 291838"/>
                <a:gd name="connsiteX358" fmla="*/ 95073 w 216516"/>
                <a:gd name="connsiteY358" fmla="*/ 205302 h 291838"/>
                <a:gd name="connsiteX359" fmla="*/ 90007 w 216516"/>
                <a:gd name="connsiteY359" fmla="*/ 229773 h 291838"/>
                <a:gd name="connsiteX360" fmla="*/ 89652 w 216516"/>
                <a:gd name="connsiteY360" fmla="*/ 170799 h 291838"/>
                <a:gd name="connsiteX361" fmla="*/ 94111 w 216516"/>
                <a:gd name="connsiteY361" fmla="*/ 175866 h 291838"/>
                <a:gd name="connsiteX362" fmla="*/ 83978 w 216516"/>
                <a:gd name="connsiteY362" fmla="*/ 188481 h 291838"/>
                <a:gd name="connsiteX363" fmla="*/ 82813 w 216516"/>
                <a:gd name="connsiteY363" fmla="*/ 177284 h 291838"/>
                <a:gd name="connsiteX364" fmla="*/ 95175 w 216516"/>
                <a:gd name="connsiteY364" fmla="*/ 176828 h 291838"/>
                <a:gd name="connsiteX365" fmla="*/ 100241 w 216516"/>
                <a:gd name="connsiteY365" fmla="*/ 181895 h 291838"/>
                <a:gd name="connsiteX366" fmla="*/ 100241 w 216516"/>
                <a:gd name="connsiteY366" fmla="*/ 181895 h 291838"/>
                <a:gd name="connsiteX367" fmla="*/ 96644 w 216516"/>
                <a:gd name="connsiteY367" fmla="*/ 198817 h 291838"/>
                <a:gd name="connsiteX368" fmla="*/ 91172 w 216516"/>
                <a:gd name="connsiteY368" fmla="*/ 181844 h 291838"/>
                <a:gd name="connsiteX369" fmla="*/ 134744 w 216516"/>
                <a:gd name="connsiteY369" fmla="*/ 177132 h 291838"/>
                <a:gd name="connsiteX370" fmla="*/ 133578 w 216516"/>
                <a:gd name="connsiteY370" fmla="*/ 188329 h 291838"/>
                <a:gd name="connsiteX371" fmla="*/ 123446 w 216516"/>
                <a:gd name="connsiteY371" fmla="*/ 175764 h 291838"/>
                <a:gd name="connsiteX372" fmla="*/ 127904 w 216516"/>
                <a:gd name="connsiteY372" fmla="*/ 170698 h 291838"/>
                <a:gd name="connsiteX373" fmla="*/ 122179 w 216516"/>
                <a:gd name="connsiteY373" fmla="*/ 176980 h 291838"/>
                <a:gd name="connsiteX374" fmla="*/ 126181 w 216516"/>
                <a:gd name="connsiteY374" fmla="*/ 182047 h 291838"/>
                <a:gd name="connsiteX375" fmla="*/ 120710 w 216516"/>
                <a:gd name="connsiteY375" fmla="*/ 199019 h 291838"/>
                <a:gd name="connsiteX376" fmla="*/ 117112 w 216516"/>
                <a:gd name="connsiteY376" fmla="*/ 181895 h 291838"/>
                <a:gd name="connsiteX377" fmla="*/ 122179 w 216516"/>
                <a:gd name="connsiteY377" fmla="*/ 176980 h 291838"/>
                <a:gd name="connsiteX378" fmla="*/ 122179 w 216516"/>
                <a:gd name="connsiteY378" fmla="*/ 205352 h 291838"/>
                <a:gd name="connsiteX379" fmla="*/ 129829 w 216516"/>
                <a:gd name="connsiteY379" fmla="*/ 216448 h 291838"/>
                <a:gd name="connsiteX380" fmla="*/ 129829 w 216516"/>
                <a:gd name="connsiteY380" fmla="*/ 216448 h 291838"/>
                <a:gd name="connsiteX381" fmla="*/ 127195 w 216516"/>
                <a:gd name="connsiteY381" fmla="*/ 229570 h 291838"/>
                <a:gd name="connsiteX382" fmla="*/ 130437 w 216516"/>
                <a:gd name="connsiteY382" fmla="*/ 214624 h 291838"/>
                <a:gd name="connsiteX383" fmla="*/ 121520 w 216516"/>
                <a:gd name="connsiteY383" fmla="*/ 201654 h 291838"/>
                <a:gd name="connsiteX384" fmla="*/ 127245 w 216516"/>
                <a:gd name="connsiteY384" fmla="*/ 183263 h 291838"/>
                <a:gd name="connsiteX385" fmla="*/ 133528 w 216516"/>
                <a:gd name="connsiteY385" fmla="*/ 190862 h 291838"/>
                <a:gd name="connsiteX386" fmla="*/ 134338 w 216516"/>
                <a:gd name="connsiteY386" fmla="*/ 190862 h 291838"/>
                <a:gd name="connsiteX387" fmla="*/ 134845 w 216516"/>
                <a:gd name="connsiteY387" fmla="*/ 190204 h 291838"/>
                <a:gd name="connsiteX388" fmla="*/ 136112 w 216516"/>
                <a:gd name="connsiteY388" fmla="*/ 178298 h 291838"/>
                <a:gd name="connsiteX389" fmla="*/ 152223 w 216516"/>
                <a:gd name="connsiteY389" fmla="*/ 192737 h 291838"/>
                <a:gd name="connsiteX390" fmla="*/ 154097 w 216516"/>
                <a:gd name="connsiteY390" fmla="*/ 194460 h 291838"/>
                <a:gd name="connsiteX391" fmla="*/ 155972 w 216516"/>
                <a:gd name="connsiteY391" fmla="*/ 196132 h 291838"/>
                <a:gd name="connsiteX392" fmla="*/ 156631 w 216516"/>
                <a:gd name="connsiteY392" fmla="*/ 196740 h 291838"/>
                <a:gd name="connsiteX393" fmla="*/ 157492 w 216516"/>
                <a:gd name="connsiteY393" fmla="*/ 197499 h 291838"/>
                <a:gd name="connsiteX394" fmla="*/ 159265 w 216516"/>
                <a:gd name="connsiteY394" fmla="*/ 203731 h 291838"/>
                <a:gd name="connsiteX395" fmla="*/ 148828 w 216516"/>
                <a:gd name="connsiteY395" fmla="*/ 193598 h 291838"/>
                <a:gd name="connsiteX396" fmla="*/ 148170 w 216516"/>
                <a:gd name="connsiteY396" fmla="*/ 193598 h 291838"/>
                <a:gd name="connsiteX397" fmla="*/ 147613 w 216516"/>
                <a:gd name="connsiteY397" fmla="*/ 194105 h 291838"/>
                <a:gd name="connsiteX398" fmla="*/ 143154 w 216516"/>
                <a:gd name="connsiteY398" fmla="*/ 205656 h 291838"/>
                <a:gd name="connsiteX399" fmla="*/ 135453 w 216516"/>
                <a:gd name="connsiteY399" fmla="*/ 195220 h 291838"/>
                <a:gd name="connsiteX400" fmla="*/ 134642 w 216516"/>
                <a:gd name="connsiteY400" fmla="*/ 194916 h 291838"/>
                <a:gd name="connsiteX401" fmla="*/ 134085 w 216516"/>
                <a:gd name="connsiteY401" fmla="*/ 195524 h 291838"/>
                <a:gd name="connsiteX402" fmla="*/ 153236 w 216516"/>
                <a:gd name="connsiteY402" fmla="*/ 93992 h 291838"/>
                <a:gd name="connsiteX403" fmla="*/ 153641 w 216516"/>
                <a:gd name="connsiteY403" fmla="*/ 103466 h 291838"/>
                <a:gd name="connsiteX404" fmla="*/ 150247 w 216516"/>
                <a:gd name="connsiteY404" fmla="*/ 124593 h 291838"/>
                <a:gd name="connsiteX405" fmla="*/ 126688 w 216516"/>
                <a:gd name="connsiteY405" fmla="*/ 170191 h 291838"/>
                <a:gd name="connsiteX406" fmla="*/ 116048 w 216516"/>
                <a:gd name="connsiteY406" fmla="*/ 181135 h 291838"/>
                <a:gd name="connsiteX407" fmla="*/ 116049 w 216516"/>
                <a:gd name="connsiteY407" fmla="*/ 181135 h 291838"/>
                <a:gd name="connsiteX408" fmla="*/ 115187 w 216516"/>
                <a:gd name="connsiteY408" fmla="*/ 181895 h 291838"/>
                <a:gd name="connsiteX409" fmla="*/ 114326 w 216516"/>
                <a:gd name="connsiteY409" fmla="*/ 182655 h 291838"/>
                <a:gd name="connsiteX410" fmla="*/ 112857 w 216516"/>
                <a:gd name="connsiteY410" fmla="*/ 183921 h 291838"/>
                <a:gd name="connsiteX411" fmla="*/ 108854 w 216516"/>
                <a:gd name="connsiteY411" fmla="*/ 187215 h 291838"/>
                <a:gd name="connsiteX412" fmla="*/ 104852 w 216516"/>
                <a:gd name="connsiteY412" fmla="*/ 183921 h 291838"/>
                <a:gd name="connsiteX413" fmla="*/ 103332 w 216516"/>
                <a:gd name="connsiteY413" fmla="*/ 182655 h 291838"/>
                <a:gd name="connsiteX414" fmla="*/ 102470 w 216516"/>
                <a:gd name="connsiteY414" fmla="*/ 181895 h 291838"/>
                <a:gd name="connsiteX415" fmla="*/ 101609 w 216516"/>
                <a:gd name="connsiteY415" fmla="*/ 181135 h 291838"/>
                <a:gd name="connsiteX416" fmla="*/ 101609 w 216516"/>
                <a:gd name="connsiteY416" fmla="*/ 181135 h 291838"/>
                <a:gd name="connsiteX417" fmla="*/ 101609 w 216516"/>
                <a:gd name="connsiteY417" fmla="*/ 181135 h 291838"/>
                <a:gd name="connsiteX418" fmla="*/ 91020 w 216516"/>
                <a:gd name="connsiteY418" fmla="*/ 170191 h 291838"/>
                <a:gd name="connsiteX419" fmla="*/ 67461 w 216516"/>
                <a:gd name="connsiteY419" fmla="*/ 124593 h 291838"/>
                <a:gd name="connsiteX420" fmla="*/ 64016 w 216516"/>
                <a:gd name="connsiteY420" fmla="*/ 103466 h 291838"/>
                <a:gd name="connsiteX421" fmla="*/ 64422 w 216516"/>
                <a:gd name="connsiteY421" fmla="*/ 93992 h 291838"/>
                <a:gd name="connsiteX422" fmla="*/ 107841 w 216516"/>
                <a:gd name="connsiteY422" fmla="*/ 81731 h 291838"/>
                <a:gd name="connsiteX423" fmla="*/ 108905 w 216516"/>
                <a:gd name="connsiteY423" fmla="*/ 80971 h 291838"/>
                <a:gd name="connsiteX424" fmla="*/ 109918 w 216516"/>
                <a:gd name="connsiteY424" fmla="*/ 81731 h 291838"/>
                <a:gd name="connsiteX425" fmla="*/ 153135 w 216516"/>
                <a:gd name="connsiteY425" fmla="*/ 93992 h 291838"/>
                <a:gd name="connsiteX426" fmla="*/ 60774 w 216516"/>
                <a:gd name="connsiteY426" fmla="*/ 196993 h 291838"/>
                <a:gd name="connsiteX427" fmla="*/ 61382 w 216516"/>
                <a:gd name="connsiteY427" fmla="*/ 196638 h 291838"/>
                <a:gd name="connsiteX428" fmla="*/ 63256 w 216516"/>
                <a:gd name="connsiteY428" fmla="*/ 194966 h 291838"/>
                <a:gd name="connsiteX429" fmla="*/ 65181 w 216516"/>
                <a:gd name="connsiteY429" fmla="*/ 193244 h 291838"/>
                <a:gd name="connsiteX430" fmla="*/ 81293 w 216516"/>
                <a:gd name="connsiteY430" fmla="*/ 178804 h 291838"/>
                <a:gd name="connsiteX431" fmla="*/ 82509 w 216516"/>
                <a:gd name="connsiteY431" fmla="*/ 190710 h 291838"/>
                <a:gd name="connsiteX432" fmla="*/ 83015 w 216516"/>
                <a:gd name="connsiteY432" fmla="*/ 191369 h 291838"/>
                <a:gd name="connsiteX433" fmla="*/ 83826 w 216516"/>
                <a:gd name="connsiteY433" fmla="*/ 191369 h 291838"/>
                <a:gd name="connsiteX434" fmla="*/ 90108 w 216516"/>
                <a:gd name="connsiteY434" fmla="*/ 183769 h 291838"/>
                <a:gd name="connsiteX435" fmla="*/ 96036 w 216516"/>
                <a:gd name="connsiteY435" fmla="*/ 202161 h 291838"/>
                <a:gd name="connsiteX436" fmla="*/ 87069 w 216516"/>
                <a:gd name="connsiteY436" fmla="*/ 215131 h 291838"/>
                <a:gd name="connsiteX437" fmla="*/ 83269 w 216516"/>
                <a:gd name="connsiteY437" fmla="*/ 196030 h 291838"/>
                <a:gd name="connsiteX438" fmla="*/ 82711 w 216516"/>
                <a:gd name="connsiteY438" fmla="*/ 195422 h 291838"/>
                <a:gd name="connsiteX439" fmla="*/ 81901 w 216516"/>
                <a:gd name="connsiteY439" fmla="*/ 195726 h 291838"/>
                <a:gd name="connsiteX440" fmla="*/ 74200 w 216516"/>
                <a:gd name="connsiteY440" fmla="*/ 206163 h 291838"/>
                <a:gd name="connsiteX441" fmla="*/ 69741 w 216516"/>
                <a:gd name="connsiteY441" fmla="*/ 194612 h 291838"/>
                <a:gd name="connsiteX442" fmla="*/ 69235 w 216516"/>
                <a:gd name="connsiteY442" fmla="*/ 194105 h 291838"/>
                <a:gd name="connsiteX443" fmla="*/ 68525 w 216516"/>
                <a:gd name="connsiteY443" fmla="*/ 194105 h 291838"/>
                <a:gd name="connsiteX444" fmla="*/ 58088 w 216516"/>
                <a:gd name="connsiteY444" fmla="*/ 204238 h 291838"/>
                <a:gd name="connsiteX445" fmla="*/ 59862 w 216516"/>
                <a:gd name="connsiteY445" fmla="*/ 198006 h 291838"/>
                <a:gd name="connsiteX446" fmla="*/ 56670 w 216516"/>
                <a:gd name="connsiteY446" fmla="*/ 209254 h 291838"/>
                <a:gd name="connsiteX447" fmla="*/ 62496 w 216516"/>
                <a:gd name="connsiteY447" fmla="*/ 229013 h 291838"/>
                <a:gd name="connsiteX448" fmla="*/ 54086 w 216516"/>
                <a:gd name="connsiteY448" fmla="*/ 241476 h 291838"/>
                <a:gd name="connsiteX449" fmla="*/ 48108 w 216516"/>
                <a:gd name="connsiteY449" fmla="*/ 239754 h 291838"/>
                <a:gd name="connsiteX450" fmla="*/ 37316 w 216516"/>
                <a:gd name="connsiteY450" fmla="*/ 239348 h 291838"/>
                <a:gd name="connsiteX451" fmla="*/ 37316 w 216516"/>
                <a:gd name="connsiteY451" fmla="*/ 239348 h 291838"/>
                <a:gd name="connsiteX452" fmla="*/ 37316 w 216516"/>
                <a:gd name="connsiteY452" fmla="*/ 239348 h 291838"/>
                <a:gd name="connsiteX453" fmla="*/ 40052 w 216516"/>
                <a:gd name="connsiteY453" fmla="*/ 239044 h 291838"/>
                <a:gd name="connsiteX454" fmla="*/ 45777 w 216516"/>
                <a:gd name="connsiteY454" fmla="*/ 241172 h 291838"/>
                <a:gd name="connsiteX455" fmla="*/ 66651 w 216516"/>
                <a:gd name="connsiteY455" fmla="*/ 246239 h 291838"/>
                <a:gd name="connsiteX456" fmla="*/ 75112 w 216516"/>
                <a:gd name="connsiteY456" fmla="*/ 247049 h 291838"/>
                <a:gd name="connsiteX457" fmla="*/ 78456 w 216516"/>
                <a:gd name="connsiteY457" fmla="*/ 247049 h 291838"/>
                <a:gd name="connsiteX458" fmla="*/ 80077 w 216516"/>
                <a:gd name="connsiteY458" fmla="*/ 247049 h 291838"/>
                <a:gd name="connsiteX459" fmla="*/ 86157 w 216516"/>
                <a:gd name="connsiteY459" fmla="*/ 247049 h 291838"/>
                <a:gd name="connsiteX460" fmla="*/ 87727 w 216516"/>
                <a:gd name="connsiteY460" fmla="*/ 247049 h 291838"/>
                <a:gd name="connsiteX461" fmla="*/ 91628 w 216516"/>
                <a:gd name="connsiteY461" fmla="*/ 247049 h 291838"/>
                <a:gd name="connsiteX462" fmla="*/ 96137 w 216516"/>
                <a:gd name="connsiteY462" fmla="*/ 247049 h 291838"/>
                <a:gd name="connsiteX463" fmla="*/ 99583 w 216516"/>
                <a:gd name="connsiteY463" fmla="*/ 249025 h 291838"/>
                <a:gd name="connsiteX464" fmla="*/ 99583 w 216516"/>
                <a:gd name="connsiteY464" fmla="*/ 250444 h 291838"/>
                <a:gd name="connsiteX465" fmla="*/ 98367 w 216516"/>
                <a:gd name="connsiteY465" fmla="*/ 252065 h 291838"/>
                <a:gd name="connsiteX466" fmla="*/ 97911 w 216516"/>
                <a:gd name="connsiteY466" fmla="*/ 252774 h 291838"/>
                <a:gd name="connsiteX467" fmla="*/ 97911 w 216516"/>
                <a:gd name="connsiteY467" fmla="*/ 252774 h 291838"/>
                <a:gd name="connsiteX468" fmla="*/ 96695 w 216516"/>
                <a:gd name="connsiteY468" fmla="*/ 253990 h 291838"/>
                <a:gd name="connsiteX469" fmla="*/ 94465 w 216516"/>
                <a:gd name="connsiteY469" fmla="*/ 254750 h 291838"/>
                <a:gd name="connsiteX470" fmla="*/ 81445 w 216516"/>
                <a:gd name="connsiteY470" fmla="*/ 254750 h 291838"/>
                <a:gd name="connsiteX471" fmla="*/ 70856 w 216516"/>
                <a:gd name="connsiteY471" fmla="*/ 253990 h 291838"/>
                <a:gd name="connsiteX472" fmla="*/ 70856 w 216516"/>
                <a:gd name="connsiteY472" fmla="*/ 253990 h 291838"/>
                <a:gd name="connsiteX473" fmla="*/ 70856 w 216516"/>
                <a:gd name="connsiteY473" fmla="*/ 251204 h 291838"/>
                <a:gd name="connsiteX474" fmla="*/ 68272 w 216516"/>
                <a:gd name="connsiteY474" fmla="*/ 247201 h 291838"/>
                <a:gd name="connsiteX475" fmla="*/ 67867 w 216516"/>
                <a:gd name="connsiteY475" fmla="*/ 247201 h 291838"/>
                <a:gd name="connsiteX476" fmla="*/ 66397 w 216516"/>
                <a:gd name="connsiteY476" fmla="*/ 246644 h 291838"/>
                <a:gd name="connsiteX477" fmla="*/ 66448 w 216516"/>
                <a:gd name="connsiteY477" fmla="*/ 246644 h 291838"/>
                <a:gd name="connsiteX478" fmla="*/ 65384 w 216516"/>
                <a:gd name="connsiteY478" fmla="*/ 246644 h 291838"/>
                <a:gd name="connsiteX479" fmla="*/ 65384 w 216516"/>
                <a:gd name="connsiteY479" fmla="*/ 246644 h 291838"/>
                <a:gd name="connsiteX480" fmla="*/ 61939 w 216516"/>
                <a:gd name="connsiteY480" fmla="*/ 250038 h 291838"/>
                <a:gd name="connsiteX481" fmla="*/ 61939 w 216516"/>
                <a:gd name="connsiteY481" fmla="*/ 250748 h 291838"/>
                <a:gd name="connsiteX482" fmla="*/ 61939 w 216516"/>
                <a:gd name="connsiteY482" fmla="*/ 252774 h 291838"/>
                <a:gd name="connsiteX483" fmla="*/ 61939 w 216516"/>
                <a:gd name="connsiteY483" fmla="*/ 252774 h 291838"/>
                <a:gd name="connsiteX484" fmla="*/ 53275 w 216516"/>
                <a:gd name="connsiteY484" fmla="*/ 251153 h 291838"/>
                <a:gd name="connsiteX485" fmla="*/ 38076 w 216516"/>
                <a:gd name="connsiteY485" fmla="*/ 247100 h 291838"/>
                <a:gd name="connsiteX486" fmla="*/ 38076 w 216516"/>
                <a:gd name="connsiteY486" fmla="*/ 246695 h 291838"/>
                <a:gd name="connsiteX487" fmla="*/ 38076 w 216516"/>
                <a:gd name="connsiteY487" fmla="*/ 246695 h 291838"/>
                <a:gd name="connsiteX488" fmla="*/ 37620 w 216516"/>
                <a:gd name="connsiteY488" fmla="*/ 244769 h 291838"/>
                <a:gd name="connsiteX489" fmla="*/ 37620 w 216516"/>
                <a:gd name="connsiteY489" fmla="*/ 241527 h 291838"/>
                <a:gd name="connsiteX490" fmla="*/ 37215 w 216516"/>
                <a:gd name="connsiteY490" fmla="*/ 239348 h 291838"/>
                <a:gd name="connsiteX491" fmla="*/ 63256 w 216516"/>
                <a:gd name="connsiteY491" fmla="*/ 250342 h 291838"/>
                <a:gd name="connsiteX492" fmla="*/ 63256 w 216516"/>
                <a:gd name="connsiteY492" fmla="*/ 249582 h 291838"/>
                <a:gd name="connsiteX493" fmla="*/ 65688 w 216516"/>
                <a:gd name="connsiteY493" fmla="*/ 247353 h 291838"/>
                <a:gd name="connsiteX494" fmla="*/ 66347 w 216516"/>
                <a:gd name="connsiteY494" fmla="*/ 247353 h 291838"/>
                <a:gd name="connsiteX495" fmla="*/ 67563 w 216516"/>
                <a:gd name="connsiteY495" fmla="*/ 247708 h 291838"/>
                <a:gd name="connsiteX496" fmla="*/ 69792 w 216516"/>
                <a:gd name="connsiteY496" fmla="*/ 250545 h 291838"/>
                <a:gd name="connsiteX497" fmla="*/ 69792 w 216516"/>
                <a:gd name="connsiteY497" fmla="*/ 253332 h 291838"/>
                <a:gd name="connsiteX498" fmla="*/ 68829 w 216516"/>
                <a:gd name="connsiteY498" fmla="*/ 255460 h 291838"/>
                <a:gd name="connsiteX499" fmla="*/ 68829 w 216516"/>
                <a:gd name="connsiteY499" fmla="*/ 255460 h 291838"/>
                <a:gd name="connsiteX500" fmla="*/ 68019 w 216516"/>
                <a:gd name="connsiteY500" fmla="*/ 256372 h 291838"/>
                <a:gd name="connsiteX501" fmla="*/ 66144 w 216516"/>
                <a:gd name="connsiteY501" fmla="*/ 258702 h 291838"/>
                <a:gd name="connsiteX502" fmla="*/ 65131 w 216516"/>
                <a:gd name="connsiteY502" fmla="*/ 257182 h 291838"/>
                <a:gd name="connsiteX503" fmla="*/ 63054 w 216516"/>
                <a:gd name="connsiteY503" fmla="*/ 252116 h 291838"/>
                <a:gd name="connsiteX504" fmla="*/ 63155 w 216516"/>
                <a:gd name="connsiteY504" fmla="*/ 250342 h 291838"/>
                <a:gd name="connsiteX505" fmla="*/ 29260 w 216516"/>
                <a:gd name="connsiteY505" fmla="*/ 243807 h 291838"/>
                <a:gd name="connsiteX506" fmla="*/ 35239 w 216516"/>
                <a:gd name="connsiteY506" fmla="*/ 239754 h 291838"/>
                <a:gd name="connsiteX507" fmla="*/ 35239 w 216516"/>
                <a:gd name="connsiteY507" fmla="*/ 240767 h 291838"/>
                <a:gd name="connsiteX508" fmla="*/ 35239 w 216516"/>
                <a:gd name="connsiteY508" fmla="*/ 243553 h 291838"/>
                <a:gd name="connsiteX509" fmla="*/ 35644 w 216516"/>
                <a:gd name="connsiteY509" fmla="*/ 245884 h 291838"/>
                <a:gd name="connsiteX510" fmla="*/ 34631 w 216516"/>
                <a:gd name="connsiteY510" fmla="*/ 246239 h 291838"/>
                <a:gd name="connsiteX511" fmla="*/ 32199 w 216516"/>
                <a:gd name="connsiteY511" fmla="*/ 247252 h 291838"/>
                <a:gd name="connsiteX512" fmla="*/ 28754 w 216516"/>
                <a:gd name="connsiteY512" fmla="*/ 249582 h 291838"/>
                <a:gd name="connsiteX513" fmla="*/ 28399 w 216516"/>
                <a:gd name="connsiteY513" fmla="*/ 247455 h 291838"/>
                <a:gd name="connsiteX514" fmla="*/ 29159 w 216516"/>
                <a:gd name="connsiteY514" fmla="*/ 243807 h 291838"/>
                <a:gd name="connsiteX515" fmla="*/ 197568 w 216516"/>
                <a:gd name="connsiteY515" fmla="*/ 262502 h 291838"/>
                <a:gd name="connsiteX516" fmla="*/ 197872 w 216516"/>
                <a:gd name="connsiteY516" fmla="*/ 262907 h 291838"/>
                <a:gd name="connsiteX517" fmla="*/ 193920 w 216516"/>
                <a:gd name="connsiteY517" fmla="*/ 271368 h 291838"/>
                <a:gd name="connsiteX518" fmla="*/ 193210 w 216516"/>
                <a:gd name="connsiteY518" fmla="*/ 272027 h 291838"/>
                <a:gd name="connsiteX519" fmla="*/ 192400 w 216516"/>
                <a:gd name="connsiteY519" fmla="*/ 275219 h 291838"/>
                <a:gd name="connsiteX520" fmla="*/ 188600 w 216516"/>
                <a:gd name="connsiteY520" fmla="*/ 281146 h 291838"/>
                <a:gd name="connsiteX521" fmla="*/ 116150 w 216516"/>
                <a:gd name="connsiteY521" fmla="*/ 289354 h 291838"/>
                <a:gd name="connsiteX522" fmla="*/ 101204 w 216516"/>
                <a:gd name="connsiteY522" fmla="*/ 289354 h 291838"/>
                <a:gd name="connsiteX523" fmla="*/ 28804 w 216516"/>
                <a:gd name="connsiteY523" fmla="*/ 281146 h 291838"/>
                <a:gd name="connsiteX524" fmla="*/ 24954 w 216516"/>
                <a:gd name="connsiteY524" fmla="*/ 275219 h 291838"/>
                <a:gd name="connsiteX525" fmla="*/ 24143 w 216516"/>
                <a:gd name="connsiteY525" fmla="*/ 272027 h 291838"/>
                <a:gd name="connsiteX526" fmla="*/ 23434 w 216516"/>
                <a:gd name="connsiteY526" fmla="*/ 271368 h 291838"/>
                <a:gd name="connsiteX527" fmla="*/ 19482 w 216516"/>
                <a:gd name="connsiteY527" fmla="*/ 262907 h 291838"/>
                <a:gd name="connsiteX528" fmla="*/ 19786 w 216516"/>
                <a:gd name="connsiteY528" fmla="*/ 262502 h 291838"/>
                <a:gd name="connsiteX529" fmla="*/ 27284 w 216516"/>
                <a:gd name="connsiteY529" fmla="*/ 255662 h 291838"/>
                <a:gd name="connsiteX530" fmla="*/ 28348 w 216516"/>
                <a:gd name="connsiteY530" fmla="*/ 255662 h 291838"/>
                <a:gd name="connsiteX531" fmla="*/ 28906 w 216516"/>
                <a:gd name="connsiteY531" fmla="*/ 254700 h 291838"/>
                <a:gd name="connsiteX532" fmla="*/ 29919 w 216516"/>
                <a:gd name="connsiteY532" fmla="*/ 250596 h 291838"/>
                <a:gd name="connsiteX533" fmla="*/ 36049 w 216516"/>
                <a:gd name="connsiteY533" fmla="*/ 247303 h 291838"/>
                <a:gd name="connsiteX534" fmla="*/ 36049 w 216516"/>
                <a:gd name="connsiteY534" fmla="*/ 247657 h 291838"/>
                <a:gd name="connsiteX535" fmla="*/ 61382 w 216516"/>
                <a:gd name="connsiteY535" fmla="*/ 253788 h 291838"/>
                <a:gd name="connsiteX536" fmla="*/ 63560 w 216516"/>
                <a:gd name="connsiteY536" fmla="*/ 258043 h 291838"/>
                <a:gd name="connsiteX537" fmla="*/ 64827 w 216516"/>
                <a:gd name="connsiteY537" fmla="*/ 260982 h 291838"/>
                <a:gd name="connsiteX538" fmla="*/ 65485 w 216516"/>
                <a:gd name="connsiteY538" fmla="*/ 261843 h 291838"/>
                <a:gd name="connsiteX539" fmla="*/ 65485 w 216516"/>
                <a:gd name="connsiteY539" fmla="*/ 261843 h 291838"/>
                <a:gd name="connsiteX540" fmla="*/ 66195 w 216516"/>
                <a:gd name="connsiteY540" fmla="*/ 261235 h 291838"/>
                <a:gd name="connsiteX541" fmla="*/ 68627 w 216516"/>
                <a:gd name="connsiteY541" fmla="*/ 257435 h 291838"/>
                <a:gd name="connsiteX542" fmla="*/ 69691 w 216516"/>
                <a:gd name="connsiteY542" fmla="*/ 256220 h 291838"/>
                <a:gd name="connsiteX543" fmla="*/ 69691 w 216516"/>
                <a:gd name="connsiteY543" fmla="*/ 256220 h 291838"/>
                <a:gd name="connsiteX544" fmla="*/ 70299 w 216516"/>
                <a:gd name="connsiteY544" fmla="*/ 255105 h 291838"/>
                <a:gd name="connsiteX545" fmla="*/ 86004 w 216516"/>
                <a:gd name="connsiteY545" fmla="*/ 256017 h 291838"/>
                <a:gd name="connsiteX546" fmla="*/ 94567 w 216516"/>
                <a:gd name="connsiteY546" fmla="*/ 255713 h 291838"/>
                <a:gd name="connsiteX547" fmla="*/ 96441 w 216516"/>
                <a:gd name="connsiteY547" fmla="*/ 255206 h 291838"/>
                <a:gd name="connsiteX548" fmla="*/ 99836 w 216516"/>
                <a:gd name="connsiteY548" fmla="*/ 258753 h 291838"/>
                <a:gd name="connsiteX549" fmla="*/ 101001 w 216516"/>
                <a:gd name="connsiteY549" fmla="*/ 259462 h 291838"/>
                <a:gd name="connsiteX550" fmla="*/ 102572 w 216516"/>
                <a:gd name="connsiteY550" fmla="*/ 261337 h 291838"/>
                <a:gd name="connsiteX551" fmla="*/ 103180 w 216516"/>
                <a:gd name="connsiteY551" fmla="*/ 262553 h 291838"/>
                <a:gd name="connsiteX552" fmla="*/ 103838 w 216516"/>
                <a:gd name="connsiteY552" fmla="*/ 262907 h 291838"/>
                <a:gd name="connsiteX553" fmla="*/ 103838 w 216516"/>
                <a:gd name="connsiteY553" fmla="*/ 262907 h 291838"/>
                <a:gd name="connsiteX554" fmla="*/ 104497 w 216516"/>
                <a:gd name="connsiteY554" fmla="*/ 262451 h 291838"/>
                <a:gd name="connsiteX555" fmla="*/ 106777 w 216516"/>
                <a:gd name="connsiteY555" fmla="*/ 254852 h 291838"/>
                <a:gd name="connsiteX556" fmla="*/ 109716 w 216516"/>
                <a:gd name="connsiteY556" fmla="*/ 254852 h 291838"/>
                <a:gd name="connsiteX557" fmla="*/ 111945 w 216516"/>
                <a:gd name="connsiteY557" fmla="*/ 262451 h 291838"/>
                <a:gd name="connsiteX558" fmla="*/ 112603 w 216516"/>
                <a:gd name="connsiteY558" fmla="*/ 262907 h 291838"/>
                <a:gd name="connsiteX559" fmla="*/ 112603 w 216516"/>
                <a:gd name="connsiteY559" fmla="*/ 262907 h 291838"/>
                <a:gd name="connsiteX560" fmla="*/ 113262 w 216516"/>
                <a:gd name="connsiteY560" fmla="*/ 262553 h 291838"/>
                <a:gd name="connsiteX561" fmla="*/ 113870 w 216516"/>
                <a:gd name="connsiteY561" fmla="*/ 261337 h 291838"/>
                <a:gd name="connsiteX562" fmla="*/ 115491 w 216516"/>
                <a:gd name="connsiteY562" fmla="*/ 259462 h 291838"/>
                <a:gd name="connsiteX563" fmla="*/ 116606 w 216516"/>
                <a:gd name="connsiteY563" fmla="*/ 258753 h 291838"/>
                <a:gd name="connsiteX564" fmla="*/ 120043 w 216516"/>
                <a:gd name="connsiteY564" fmla="*/ 255200 h 291838"/>
                <a:gd name="connsiteX565" fmla="*/ 121926 w 216516"/>
                <a:gd name="connsiteY565" fmla="*/ 255713 h 291838"/>
                <a:gd name="connsiteX566" fmla="*/ 130437 w 216516"/>
                <a:gd name="connsiteY566" fmla="*/ 256017 h 291838"/>
                <a:gd name="connsiteX567" fmla="*/ 146194 w 216516"/>
                <a:gd name="connsiteY567" fmla="*/ 255105 h 291838"/>
                <a:gd name="connsiteX568" fmla="*/ 146751 w 216516"/>
                <a:gd name="connsiteY568" fmla="*/ 256220 h 291838"/>
                <a:gd name="connsiteX569" fmla="*/ 146751 w 216516"/>
                <a:gd name="connsiteY569" fmla="*/ 256220 h 291838"/>
                <a:gd name="connsiteX570" fmla="*/ 147765 w 216516"/>
                <a:gd name="connsiteY570" fmla="*/ 257435 h 291838"/>
                <a:gd name="connsiteX571" fmla="*/ 150196 w 216516"/>
                <a:gd name="connsiteY571" fmla="*/ 261235 h 291838"/>
                <a:gd name="connsiteX572" fmla="*/ 150956 w 216516"/>
                <a:gd name="connsiteY572" fmla="*/ 261843 h 291838"/>
                <a:gd name="connsiteX573" fmla="*/ 150956 w 216516"/>
                <a:gd name="connsiteY573" fmla="*/ 261843 h 291838"/>
                <a:gd name="connsiteX574" fmla="*/ 151615 w 216516"/>
                <a:gd name="connsiteY574" fmla="*/ 260982 h 291838"/>
                <a:gd name="connsiteX575" fmla="*/ 152932 w 216516"/>
                <a:gd name="connsiteY575" fmla="*/ 258043 h 291838"/>
                <a:gd name="connsiteX576" fmla="*/ 155060 w 216516"/>
                <a:gd name="connsiteY576" fmla="*/ 253788 h 291838"/>
                <a:gd name="connsiteX577" fmla="*/ 180392 w 216516"/>
                <a:gd name="connsiteY577" fmla="*/ 247657 h 291838"/>
                <a:gd name="connsiteX578" fmla="*/ 180646 w 216516"/>
                <a:gd name="connsiteY578" fmla="*/ 247303 h 291838"/>
                <a:gd name="connsiteX579" fmla="*/ 186877 w 216516"/>
                <a:gd name="connsiteY579" fmla="*/ 250494 h 291838"/>
                <a:gd name="connsiteX580" fmla="*/ 187840 w 216516"/>
                <a:gd name="connsiteY580" fmla="*/ 254598 h 291838"/>
                <a:gd name="connsiteX581" fmla="*/ 188397 w 216516"/>
                <a:gd name="connsiteY581" fmla="*/ 255561 h 291838"/>
                <a:gd name="connsiteX582" fmla="*/ 189461 w 216516"/>
                <a:gd name="connsiteY582" fmla="*/ 255561 h 291838"/>
                <a:gd name="connsiteX583" fmla="*/ 197568 w 216516"/>
                <a:gd name="connsiteY583" fmla="*/ 262502 h 291838"/>
                <a:gd name="connsiteX584" fmla="*/ 147460 w 216516"/>
                <a:gd name="connsiteY584" fmla="*/ 250342 h 291838"/>
                <a:gd name="connsiteX585" fmla="*/ 149690 w 216516"/>
                <a:gd name="connsiteY585" fmla="*/ 247505 h 291838"/>
                <a:gd name="connsiteX586" fmla="*/ 150906 w 216516"/>
                <a:gd name="connsiteY586" fmla="*/ 247151 h 291838"/>
                <a:gd name="connsiteX587" fmla="*/ 151615 w 216516"/>
                <a:gd name="connsiteY587" fmla="*/ 247151 h 291838"/>
                <a:gd name="connsiteX588" fmla="*/ 153996 w 216516"/>
                <a:gd name="connsiteY588" fmla="*/ 249380 h 291838"/>
                <a:gd name="connsiteX589" fmla="*/ 154249 w 216516"/>
                <a:gd name="connsiteY589" fmla="*/ 250140 h 291838"/>
                <a:gd name="connsiteX590" fmla="*/ 154249 w 216516"/>
                <a:gd name="connsiteY590" fmla="*/ 252116 h 291838"/>
                <a:gd name="connsiteX591" fmla="*/ 152172 w 216516"/>
                <a:gd name="connsiteY591" fmla="*/ 257182 h 291838"/>
                <a:gd name="connsiteX592" fmla="*/ 151210 w 216516"/>
                <a:gd name="connsiteY592" fmla="*/ 258702 h 291838"/>
                <a:gd name="connsiteX593" fmla="*/ 149284 w 216516"/>
                <a:gd name="connsiteY593" fmla="*/ 256372 h 291838"/>
                <a:gd name="connsiteX594" fmla="*/ 148474 w 216516"/>
                <a:gd name="connsiteY594" fmla="*/ 255460 h 291838"/>
                <a:gd name="connsiteX595" fmla="*/ 148474 w 216516"/>
                <a:gd name="connsiteY595" fmla="*/ 255460 h 291838"/>
                <a:gd name="connsiteX596" fmla="*/ 147511 w 216516"/>
                <a:gd name="connsiteY596" fmla="*/ 253332 h 291838"/>
                <a:gd name="connsiteX597" fmla="*/ 147511 w 216516"/>
                <a:gd name="connsiteY597" fmla="*/ 250444 h 291838"/>
                <a:gd name="connsiteX598" fmla="*/ 187992 w 216516"/>
                <a:gd name="connsiteY598" fmla="*/ 243705 h 291838"/>
                <a:gd name="connsiteX599" fmla="*/ 188853 w 216516"/>
                <a:gd name="connsiteY599" fmla="*/ 247353 h 291838"/>
                <a:gd name="connsiteX600" fmla="*/ 188549 w 216516"/>
                <a:gd name="connsiteY600" fmla="*/ 249481 h 291838"/>
                <a:gd name="connsiteX601" fmla="*/ 185053 w 216516"/>
                <a:gd name="connsiteY601" fmla="*/ 247151 h 291838"/>
                <a:gd name="connsiteX602" fmla="*/ 182622 w 216516"/>
                <a:gd name="connsiteY602" fmla="*/ 246137 h 291838"/>
                <a:gd name="connsiteX603" fmla="*/ 181608 w 216516"/>
                <a:gd name="connsiteY603" fmla="*/ 245783 h 291838"/>
                <a:gd name="connsiteX604" fmla="*/ 182014 w 216516"/>
                <a:gd name="connsiteY604" fmla="*/ 243452 h 291838"/>
                <a:gd name="connsiteX605" fmla="*/ 182014 w 216516"/>
                <a:gd name="connsiteY605" fmla="*/ 240666 h 291838"/>
                <a:gd name="connsiteX606" fmla="*/ 182014 w 216516"/>
                <a:gd name="connsiteY606" fmla="*/ 239652 h 291838"/>
                <a:gd name="connsiteX607" fmla="*/ 188043 w 216516"/>
                <a:gd name="connsiteY607" fmla="*/ 243807 h 291838"/>
                <a:gd name="connsiteX608" fmla="*/ 171019 w 216516"/>
                <a:gd name="connsiteY608" fmla="*/ 240615 h 291838"/>
                <a:gd name="connsiteX609" fmla="*/ 176795 w 216516"/>
                <a:gd name="connsiteY609" fmla="*/ 238487 h 291838"/>
                <a:gd name="connsiteX610" fmla="*/ 179480 w 216516"/>
                <a:gd name="connsiteY610" fmla="*/ 238791 h 291838"/>
                <a:gd name="connsiteX611" fmla="*/ 179480 w 216516"/>
                <a:gd name="connsiteY611" fmla="*/ 238791 h 291838"/>
                <a:gd name="connsiteX612" fmla="*/ 179734 w 216516"/>
                <a:gd name="connsiteY612" fmla="*/ 238791 h 291838"/>
                <a:gd name="connsiteX613" fmla="*/ 180443 w 216516"/>
                <a:gd name="connsiteY613" fmla="*/ 240210 h 291838"/>
                <a:gd name="connsiteX614" fmla="*/ 180443 w 216516"/>
                <a:gd name="connsiteY614" fmla="*/ 243452 h 291838"/>
                <a:gd name="connsiteX615" fmla="*/ 179987 w 216516"/>
                <a:gd name="connsiteY615" fmla="*/ 245377 h 291838"/>
                <a:gd name="connsiteX616" fmla="*/ 179987 w 216516"/>
                <a:gd name="connsiteY616" fmla="*/ 245377 h 291838"/>
                <a:gd name="connsiteX617" fmla="*/ 179987 w 216516"/>
                <a:gd name="connsiteY617" fmla="*/ 245783 h 291838"/>
                <a:gd name="connsiteX618" fmla="*/ 164788 w 216516"/>
                <a:gd name="connsiteY618" fmla="*/ 249836 h 291838"/>
                <a:gd name="connsiteX619" fmla="*/ 156073 w 216516"/>
                <a:gd name="connsiteY619" fmla="*/ 251457 h 291838"/>
                <a:gd name="connsiteX620" fmla="*/ 156073 w 216516"/>
                <a:gd name="connsiteY620" fmla="*/ 251457 h 291838"/>
                <a:gd name="connsiteX621" fmla="*/ 156073 w 216516"/>
                <a:gd name="connsiteY621" fmla="*/ 249431 h 291838"/>
                <a:gd name="connsiteX622" fmla="*/ 156073 w 216516"/>
                <a:gd name="connsiteY622" fmla="*/ 248721 h 291838"/>
                <a:gd name="connsiteX623" fmla="*/ 152628 w 216516"/>
                <a:gd name="connsiteY623" fmla="*/ 245327 h 291838"/>
                <a:gd name="connsiteX624" fmla="*/ 152628 w 216516"/>
                <a:gd name="connsiteY624" fmla="*/ 245327 h 291838"/>
                <a:gd name="connsiteX625" fmla="*/ 151564 w 216516"/>
                <a:gd name="connsiteY625" fmla="*/ 245327 h 291838"/>
                <a:gd name="connsiteX626" fmla="*/ 151058 w 216516"/>
                <a:gd name="connsiteY626" fmla="*/ 245327 h 291838"/>
                <a:gd name="connsiteX627" fmla="*/ 149538 w 216516"/>
                <a:gd name="connsiteY627" fmla="*/ 245884 h 291838"/>
                <a:gd name="connsiteX628" fmla="*/ 149132 w 216516"/>
                <a:gd name="connsiteY628" fmla="*/ 245884 h 291838"/>
                <a:gd name="connsiteX629" fmla="*/ 146548 w 216516"/>
                <a:gd name="connsiteY629" fmla="*/ 249887 h 291838"/>
                <a:gd name="connsiteX630" fmla="*/ 146548 w 216516"/>
                <a:gd name="connsiteY630" fmla="*/ 252673 h 291838"/>
                <a:gd name="connsiteX631" fmla="*/ 146548 w 216516"/>
                <a:gd name="connsiteY631" fmla="*/ 252673 h 291838"/>
                <a:gd name="connsiteX632" fmla="*/ 135960 w 216516"/>
                <a:gd name="connsiteY632" fmla="*/ 253433 h 291838"/>
                <a:gd name="connsiteX633" fmla="*/ 122939 w 216516"/>
                <a:gd name="connsiteY633" fmla="*/ 253433 h 291838"/>
                <a:gd name="connsiteX634" fmla="*/ 120710 w 216516"/>
                <a:gd name="connsiteY634" fmla="*/ 252673 h 291838"/>
                <a:gd name="connsiteX635" fmla="*/ 119494 w 216516"/>
                <a:gd name="connsiteY635" fmla="*/ 251457 h 291838"/>
                <a:gd name="connsiteX636" fmla="*/ 119494 w 216516"/>
                <a:gd name="connsiteY636" fmla="*/ 251457 h 291838"/>
                <a:gd name="connsiteX637" fmla="*/ 119038 w 216516"/>
                <a:gd name="connsiteY637" fmla="*/ 250748 h 291838"/>
                <a:gd name="connsiteX638" fmla="*/ 117872 w 216516"/>
                <a:gd name="connsiteY638" fmla="*/ 249127 h 291838"/>
                <a:gd name="connsiteX639" fmla="*/ 117872 w 216516"/>
                <a:gd name="connsiteY639" fmla="*/ 247708 h 291838"/>
                <a:gd name="connsiteX640" fmla="*/ 121267 w 216516"/>
                <a:gd name="connsiteY640" fmla="*/ 245732 h 291838"/>
                <a:gd name="connsiteX641" fmla="*/ 125776 w 216516"/>
                <a:gd name="connsiteY641" fmla="*/ 245732 h 291838"/>
                <a:gd name="connsiteX642" fmla="*/ 129677 w 216516"/>
                <a:gd name="connsiteY642" fmla="*/ 245732 h 291838"/>
                <a:gd name="connsiteX643" fmla="*/ 131248 w 216516"/>
                <a:gd name="connsiteY643" fmla="*/ 245732 h 291838"/>
                <a:gd name="connsiteX644" fmla="*/ 137328 w 216516"/>
                <a:gd name="connsiteY644" fmla="*/ 245732 h 291838"/>
                <a:gd name="connsiteX645" fmla="*/ 138949 w 216516"/>
                <a:gd name="connsiteY645" fmla="*/ 245732 h 291838"/>
                <a:gd name="connsiteX646" fmla="*/ 142293 w 216516"/>
                <a:gd name="connsiteY646" fmla="*/ 245732 h 291838"/>
                <a:gd name="connsiteX647" fmla="*/ 150754 w 216516"/>
                <a:gd name="connsiteY647" fmla="*/ 244921 h 291838"/>
                <a:gd name="connsiteX648" fmla="*/ 171222 w 216516"/>
                <a:gd name="connsiteY648" fmla="*/ 240716 h 291838"/>
                <a:gd name="connsiteX649" fmla="*/ 169145 w 216516"/>
                <a:gd name="connsiteY649" fmla="*/ 239652 h 291838"/>
                <a:gd name="connsiteX650" fmla="*/ 163166 w 216516"/>
                <a:gd name="connsiteY650" fmla="*/ 241375 h 291838"/>
                <a:gd name="connsiteX651" fmla="*/ 154756 w 216516"/>
                <a:gd name="connsiteY651" fmla="*/ 228911 h 291838"/>
                <a:gd name="connsiteX652" fmla="*/ 160582 w 216516"/>
                <a:gd name="connsiteY652" fmla="*/ 209152 h 291838"/>
                <a:gd name="connsiteX653" fmla="*/ 159924 w 216516"/>
                <a:gd name="connsiteY653" fmla="*/ 206771 h 291838"/>
                <a:gd name="connsiteX654" fmla="*/ 153844 w 216516"/>
                <a:gd name="connsiteY654" fmla="*/ 227391 h 291838"/>
                <a:gd name="connsiteX655" fmla="*/ 145890 w 216516"/>
                <a:gd name="connsiteY655" fmla="*/ 215587 h 291838"/>
                <a:gd name="connsiteX656" fmla="*/ 145180 w 216516"/>
                <a:gd name="connsiteY656" fmla="*/ 215283 h 291838"/>
                <a:gd name="connsiteX657" fmla="*/ 144522 w 216516"/>
                <a:gd name="connsiteY657" fmla="*/ 215789 h 291838"/>
                <a:gd name="connsiteX658" fmla="*/ 140063 w 216516"/>
                <a:gd name="connsiteY658" fmla="*/ 228607 h 291838"/>
                <a:gd name="connsiteX659" fmla="*/ 131501 w 216516"/>
                <a:gd name="connsiteY659" fmla="*/ 216397 h 291838"/>
                <a:gd name="connsiteX660" fmla="*/ 135301 w 216516"/>
                <a:gd name="connsiteY660" fmla="*/ 197550 h 291838"/>
                <a:gd name="connsiteX661" fmla="*/ 142799 w 216516"/>
                <a:gd name="connsiteY661" fmla="*/ 207683 h 291838"/>
                <a:gd name="connsiteX662" fmla="*/ 143559 w 216516"/>
                <a:gd name="connsiteY662" fmla="*/ 207987 h 291838"/>
                <a:gd name="connsiteX663" fmla="*/ 144167 w 216516"/>
                <a:gd name="connsiteY663" fmla="*/ 207531 h 291838"/>
                <a:gd name="connsiteX664" fmla="*/ 148676 w 216516"/>
                <a:gd name="connsiteY664" fmla="*/ 195726 h 291838"/>
                <a:gd name="connsiteX665" fmla="*/ 202837 w 216516"/>
                <a:gd name="connsiteY665" fmla="*/ 235700 h 291838"/>
                <a:gd name="connsiteX666" fmla="*/ 199391 w 216516"/>
                <a:gd name="connsiteY666" fmla="*/ 232559 h 291838"/>
                <a:gd name="connsiteX667" fmla="*/ 198632 w 216516"/>
                <a:gd name="connsiteY667" fmla="*/ 231901 h 291838"/>
                <a:gd name="connsiteX668" fmla="*/ 191741 w 216516"/>
                <a:gd name="connsiteY668" fmla="*/ 67039 h 291838"/>
                <a:gd name="connsiteX669" fmla="*/ 181000 w 216516"/>
                <a:gd name="connsiteY669" fmla="*/ 77172 h 291838"/>
                <a:gd name="connsiteX670" fmla="*/ 186979 w 216516"/>
                <a:gd name="connsiteY670" fmla="*/ 221565 h 291838"/>
                <a:gd name="connsiteX671" fmla="*/ 182318 w 216516"/>
                <a:gd name="connsiteY671" fmla="*/ 217360 h 291838"/>
                <a:gd name="connsiteX672" fmla="*/ 182318 w 216516"/>
                <a:gd name="connsiteY672" fmla="*/ 217360 h 291838"/>
                <a:gd name="connsiteX673" fmla="*/ 181558 w 216516"/>
                <a:gd name="connsiteY673" fmla="*/ 216701 h 291838"/>
                <a:gd name="connsiteX674" fmla="*/ 175883 w 216516"/>
                <a:gd name="connsiteY674" fmla="*/ 81275 h 291838"/>
                <a:gd name="connsiteX675" fmla="*/ 167473 w 216516"/>
                <a:gd name="connsiteY675" fmla="*/ 86950 h 291838"/>
                <a:gd name="connsiteX676" fmla="*/ 172539 w 216516"/>
                <a:gd name="connsiteY676" fmla="*/ 208544 h 291838"/>
                <a:gd name="connsiteX677" fmla="*/ 167777 w 216516"/>
                <a:gd name="connsiteY677" fmla="*/ 204289 h 291838"/>
                <a:gd name="connsiteX678" fmla="*/ 167068 w 216516"/>
                <a:gd name="connsiteY678" fmla="*/ 203579 h 291838"/>
                <a:gd name="connsiteX679" fmla="*/ 162305 w 216516"/>
                <a:gd name="connsiteY679" fmla="*/ 89787 h 291838"/>
                <a:gd name="connsiteX680" fmla="*/ 155415 w 216516"/>
                <a:gd name="connsiteY680" fmla="*/ 93131 h 291838"/>
                <a:gd name="connsiteX681" fmla="*/ 154705 w 216516"/>
                <a:gd name="connsiteY681" fmla="*/ 92675 h 291838"/>
                <a:gd name="connsiteX682" fmla="*/ 109766 w 216516"/>
                <a:gd name="connsiteY682" fmla="*/ 80009 h 291838"/>
                <a:gd name="connsiteX683" fmla="*/ 109260 w 216516"/>
                <a:gd name="connsiteY683" fmla="*/ 79553 h 291838"/>
                <a:gd name="connsiteX684" fmla="*/ 108246 w 216516"/>
                <a:gd name="connsiteY684" fmla="*/ 79553 h 291838"/>
                <a:gd name="connsiteX685" fmla="*/ 107689 w 216516"/>
                <a:gd name="connsiteY685" fmla="*/ 80009 h 291838"/>
                <a:gd name="connsiteX686" fmla="*/ 62750 w 216516"/>
                <a:gd name="connsiteY686" fmla="*/ 92675 h 291838"/>
                <a:gd name="connsiteX687" fmla="*/ 62091 w 216516"/>
                <a:gd name="connsiteY687" fmla="*/ 93131 h 291838"/>
                <a:gd name="connsiteX688" fmla="*/ 55150 w 216516"/>
                <a:gd name="connsiteY688" fmla="*/ 89787 h 291838"/>
                <a:gd name="connsiteX689" fmla="*/ 50438 w 216516"/>
                <a:gd name="connsiteY689" fmla="*/ 203579 h 291838"/>
                <a:gd name="connsiteX690" fmla="*/ 49678 w 216516"/>
                <a:gd name="connsiteY690" fmla="*/ 204289 h 291838"/>
                <a:gd name="connsiteX691" fmla="*/ 44916 w 216516"/>
                <a:gd name="connsiteY691" fmla="*/ 208544 h 291838"/>
                <a:gd name="connsiteX692" fmla="*/ 49982 w 216516"/>
                <a:gd name="connsiteY692" fmla="*/ 86950 h 291838"/>
                <a:gd name="connsiteX693" fmla="*/ 41572 w 216516"/>
                <a:gd name="connsiteY693" fmla="*/ 81275 h 291838"/>
                <a:gd name="connsiteX694" fmla="*/ 36049 w 216516"/>
                <a:gd name="connsiteY694" fmla="*/ 216448 h 291838"/>
                <a:gd name="connsiteX695" fmla="*/ 35289 w 216516"/>
                <a:gd name="connsiteY695" fmla="*/ 217107 h 291838"/>
                <a:gd name="connsiteX696" fmla="*/ 35289 w 216516"/>
                <a:gd name="connsiteY696" fmla="*/ 217107 h 291838"/>
                <a:gd name="connsiteX697" fmla="*/ 30628 w 216516"/>
                <a:gd name="connsiteY697" fmla="*/ 221312 h 291838"/>
                <a:gd name="connsiteX698" fmla="*/ 36607 w 216516"/>
                <a:gd name="connsiteY698" fmla="*/ 76918 h 291838"/>
                <a:gd name="connsiteX699" fmla="*/ 25866 w 216516"/>
                <a:gd name="connsiteY699" fmla="*/ 66785 h 291838"/>
                <a:gd name="connsiteX700" fmla="*/ 18722 w 216516"/>
                <a:gd name="connsiteY700" fmla="*/ 232103 h 291838"/>
                <a:gd name="connsiteX701" fmla="*/ 18013 w 216516"/>
                <a:gd name="connsiteY701" fmla="*/ 232762 h 291838"/>
                <a:gd name="connsiteX702" fmla="*/ 14517 w 216516"/>
                <a:gd name="connsiteY702" fmla="*/ 235903 h 291838"/>
                <a:gd name="connsiteX703" fmla="*/ 21661 w 216516"/>
                <a:gd name="connsiteY703" fmla="*/ 64151 h 291838"/>
                <a:gd name="connsiteX704" fmla="*/ 10717 w 216516"/>
                <a:gd name="connsiteY704" fmla="*/ 69369 h 291838"/>
                <a:gd name="connsiteX705" fmla="*/ 10717 w 216516"/>
                <a:gd name="connsiteY705" fmla="*/ 68052 h 291838"/>
                <a:gd name="connsiteX706" fmla="*/ 20850 w 216516"/>
                <a:gd name="connsiteY706" fmla="*/ 52447 h 291838"/>
                <a:gd name="connsiteX707" fmla="*/ 25917 w 216516"/>
                <a:gd name="connsiteY707" fmla="*/ 51991 h 291838"/>
                <a:gd name="connsiteX708" fmla="*/ 53022 w 216516"/>
                <a:gd name="connsiteY708" fmla="*/ 61212 h 291838"/>
                <a:gd name="connsiteX709" fmla="*/ 59203 w 216516"/>
                <a:gd name="connsiteY709" fmla="*/ 64505 h 291838"/>
                <a:gd name="connsiteX710" fmla="*/ 80533 w 216516"/>
                <a:gd name="connsiteY710" fmla="*/ 68508 h 291838"/>
                <a:gd name="connsiteX711" fmla="*/ 77341 w 216516"/>
                <a:gd name="connsiteY711" fmla="*/ 72105 h 291838"/>
                <a:gd name="connsiteX712" fmla="*/ 77341 w 216516"/>
                <a:gd name="connsiteY712" fmla="*/ 73372 h 291838"/>
                <a:gd name="connsiteX713" fmla="*/ 78202 w 216516"/>
                <a:gd name="connsiteY713" fmla="*/ 73878 h 291838"/>
                <a:gd name="connsiteX714" fmla="*/ 78506 w 216516"/>
                <a:gd name="connsiteY714" fmla="*/ 73878 h 291838"/>
                <a:gd name="connsiteX715" fmla="*/ 80583 w 216516"/>
                <a:gd name="connsiteY715" fmla="*/ 73574 h 291838"/>
                <a:gd name="connsiteX716" fmla="*/ 91071 w 216516"/>
                <a:gd name="connsiteY716" fmla="*/ 69420 h 291838"/>
                <a:gd name="connsiteX717" fmla="*/ 90159 w 216516"/>
                <a:gd name="connsiteY717" fmla="*/ 75348 h 291838"/>
                <a:gd name="connsiteX718" fmla="*/ 90666 w 216516"/>
                <a:gd name="connsiteY718" fmla="*/ 76209 h 291838"/>
                <a:gd name="connsiteX719" fmla="*/ 91223 w 216516"/>
                <a:gd name="connsiteY719" fmla="*/ 76209 h 291838"/>
                <a:gd name="connsiteX720" fmla="*/ 91628 w 216516"/>
                <a:gd name="connsiteY720" fmla="*/ 76209 h 291838"/>
                <a:gd name="connsiteX721" fmla="*/ 101052 w 216516"/>
                <a:gd name="connsiteY721" fmla="*/ 69116 h 291838"/>
                <a:gd name="connsiteX722" fmla="*/ 101356 w 216516"/>
                <a:gd name="connsiteY722" fmla="*/ 68761 h 291838"/>
                <a:gd name="connsiteX723" fmla="*/ 101609 w 216516"/>
                <a:gd name="connsiteY723" fmla="*/ 69116 h 291838"/>
                <a:gd name="connsiteX724" fmla="*/ 107638 w 216516"/>
                <a:gd name="connsiteY724" fmla="*/ 75044 h 291838"/>
                <a:gd name="connsiteX725" fmla="*/ 108347 w 216516"/>
                <a:gd name="connsiteY725" fmla="*/ 75398 h 291838"/>
                <a:gd name="connsiteX726" fmla="*/ 108702 w 216516"/>
                <a:gd name="connsiteY726" fmla="*/ 75398 h 291838"/>
                <a:gd name="connsiteX727" fmla="*/ 109412 w 216516"/>
                <a:gd name="connsiteY727" fmla="*/ 75094 h 291838"/>
                <a:gd name="connsiteX728" fmla="*/ 109716 w 216516"/>
                <a:gd name="connsiteY728" fmla="*/ 74790 h 291838"/>
                <a:gd name="connsiteX729" fmla="*/ 114782 w 216516"/>
                <a:gd name="connsiteY729" fmla="*/ 69420 h 291838"/>
                <a:gd name="connsiteX730" fmla="*/ 128259 w 216516"/>
                <a:gd name="connsiteY730" fmla="*/ 75702 h 291838"/>
                <a:gd name="connsiteX731" fmla="*/ 129323 w 216516"/>
                <a:gd name="connsiteY731" fmla="*/ 74638 h 291838"/>
                <a:gd name="connsiteX732" fmla="*/ 128411 w 216516"/>
                <a:gd name="connsiteY732" fmla="*/ 70585 h 291838"/>
                <a:gd name="connsiteX733" fmla="*/ 138290 w 216516"/>
                <a:gd name="connsiteY733" fmla="*/ 72764 h 291838"/>
                <a:gd name="connsiteX734" fmla="*/ 139202 w 216516"/>
                <a:gd name="connsiteY734" fmla="*/ 72156 h 291838"/>
                <a:gd name="connsiteX735" fmla="*/ 139202 w 216516"/>
                <a:gd name="connsiteY735" fmla="*/ 71092 h 291838"/>
                <a:gd name="connsiteX736" fmla="*/ 139202 w 216516"/>
                <a:gd name="connsiteY736" fmla="*/ 71092 h 291838"/>
                <a:gd name="connsiteX737" fmla="*/ 137480 w 216516"/>
                <a:gd name="connsiteY737" fmla="*/ 68609 h 291838"/>
                <a:gd name="connsiteX738" fmla="*/ 149386 w 216516"/>
                <a:gd name="connsiteY738" fmla="*/ 67191 h 291838"/>
                <a:gd name="connsiteX739" fmla="*/ 158353 w 216516"/>
                <a:gd name="connsiteY739" fmla="*/ 64657 h 291838"/>
                <a:gd name="connsiteX740" fmla="*/ 164585 w 216516"/>
                <a:gd name="connsiteY740" fmla="*/ 61364 h 291838"/>
                <a:gd name="connsiteX741" fmla="*/ 191640 w 216516"/>
                <a:gd name="connsiteY741" fmla="*/ 52143 h 291838"/>
                <a:gd name="connsiteX742" fmla="*/ 196959 w 216516"/>
                <a:gd name="connsiteY742" fmla="*/ 52599 h 291838"/>
                <a:gd name="connsiteX743" fmla="*/ 207093 w 216516"/>
                <a:gd name="connsiteY743" fmla="*/ 68204 h 291838"/>
                <a:gd name="connsiteX744" fmla="*/ 207093 w 216516"/>
                <a:gd name="connsiteY744" fmla="*/ 69521 h 291838"/>
                <a:gd name="connsiteX745" fmla="*/ 196149 w 216516"/>
                <a:gd name="connsiteY745" fmla="*/ 64049 h 29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</a:cxnLst>
              <a:rect l="l" t="t" r="r" b="b"/>
              <a:pathLst>
                <a:path w="216516" h="291838">
                  <a:moveTo>
                    <a:pt x="216516" y="248063"/>
                  </a:moveTo>
                  <a:lnTo>
                    <a:pt x="216516" y="247607"/>
                  </a:lnTo>
                  <a:lnTo>
                    <a:pt x="216212" y="240818"/>
                  </a:lnTo>
                  <a:lnTo>
                    <a:pt x="215655" y="228151"/>
                  </a:lnTo>
                  <a:cubicBezTo>
                    <a:pt x="215401" y="222477"/>
                    <a:pt x="215199" y="216803"/>
                    <a:pt x="214945" y="211078"/>
                  </a:cubicBezTo>
                  <a:lnTo>
                    <a:pt x="211044" y="122820"/>
                  </a:lnTo>
                  <a:cubicBezTo>
                    <a:pt x="210740" y="115980"/>
                    <a:pt x="210436" y="109141"/>
                    <a:pt x="210183" y="102554"/>
                  </a:cubicBezTo>
                  <a:lnTo>
                    <a:pt x="208663" y="68153"/>
                  </a:lnTo>
                  <a:cubicBezTo>
                    <a:pt x="208410" y="62175"/>
                    <a:pt x="204965" y="52093"/>
                    <a:pt x="196909" y="50623"/>
                  </a:cubicBezTo>
                  <a:cubicBezTo>
                    <a:pt x="184192" y="48293"/>
                    <a:pt x="173046" y="54322"/>
                    <a:pt x="163166" y="59591"/>
                  </a:cubicBezTo>
                  <a:lnTo>
                    <a:pt x="157036" y="62833"/>
                  </a:lnTo>
                  <a:cubicBezTo>
                    <a:pt x="150196" y="65247"/>
                    <a:pt x="143009" y="66531"/>
                    <a:pt x="135757" y="66633"/>
                  </a:cubicBezTo>
                  <a:cubicBezTo>
                    <a:pt x="132864" y="61875"/>
                    <a:pt x="130887" y="56616"/>
                    <a:pt x="129931" y="51130"/>
                  </a:cubicBezTo>
                  <a:cubicBezTo>
                    <a:pt x="128832" y="44434"/>
                    <a:pt x="128526" y="37632"/>
                    <a:pt x="129019" y="30864"/>
                  </a:cubicBezTo>
                  <a:cubicBezTo>
                    <a:pt x="129019" y="29040"/>
                    <a:pt x="129019" y="27318"/>
                    <a:pt x="129019" y="25798"/>
                  </a:cubicBezTo>
                  <a:cubicBezTo>
                    <a:pt x="129290" y="20329"/>
                    <a:pt x="128193" y="14878"/>
                    <a:pt x="125827" y="9940"/>
                  </a:cubicBezTo>
                  <a:lnTo>
                    <a:pt x="125371" y="9180"/>
                  </a:lnTo>
                  <a:cubicBezTo>
                    <a:pt x="123378" y="5779"/>
                    <a:pt x="120019" y="3398"/>
                    <a:pt x="116150" y="2644"/>
                  </a:cubicBezTo>
                  <a:lnTo>
                    <a:pt x="108499" y="972"/>
                  </a:lnTo>
                  <a:cubicBezTo>
                    <a:pt x="103940" y="-41"/>
                    <a:pt x="103028" y="-294"/>
                    <a:pt x="101660" y="364"/>
                  </a:cubicBezTo>
                  <a:cubicBezTo>
                    <a:pt x="100933" y="691"/>
                    <a:pt x="100330" y="1242"/>
                    <a:pt x="99937" y="1935"/>
                  </a:cubicBezTo>
                  <a:cubicBezTo>
                    <a:pt x="95932" y="659"/>
                    <a:pt x="91705" y="228"/>
                    <a:pt x="87524" y="668"/>
                  </a:cubicBezTo>
                  <a:cubicBezTo>
                    <a:pt x="84537" y="978"/>
                    <a:pt x="81974" y="2934"/>
                    <a:pt x="80887" y="5735"/>
                  </a:cubicBezTo>
                  <a:lnTo>
                    <a:pt x="80887" y="6241"/>
                  </a:lnTo>
                  <a:cubicBezTo>
                    <a:pt x="80864" y="6392"/>
                    <a:pt x="80864" y="6546"/>
                    <a:pt x="80887" y="6697"/>
                  </a:cubicBezTo>
                  <a:cubicBezTo>
                    <a:pt x="80402" y="8858"/>
                    <a:pt x="80299" y="11087"/>
                    <a:pt x="80583" y="13284"/>
                  </a:cubicBezTo>
                  <a:lnTo>
                    <a:pt x="80583" y="13284"/>
                  </a:lnTo>
                  <a:lnTo>
                    <a:pt x="80583" y="13284"/>
                  </a:lnTo>
                  <a:lnTo>
                    <a:pt x="80583" y="13284"/>
                  </a:lnTo>
                  <a:lnTo>
                    <a:pt x="80583" y="13284"/>
                  </a:lnTo>
                  <a:lnTo>
                    <a:pt x="80583" y="13284"/>
                  </a:lnTo>
                  <a:lnTo>
                    <a:pt x="80583" y="13284"/>
                  </a:lnTo>
                  <a:lnTo>
                    <a:pt x="80583" y="13284"/>
                  </a:lnTo>
                  <a:lnTo>
                    <a:pt x="80583" y="13284"/>
                  </a:lnTo>
                  <a:lnTo>
                    <a:pt x="80583" y="13284"/>
                  </a:lnTo>
                  <a:lnTo>
                    <a:pt x="80583" y="13284"/>
                  </a:lnTo>
                  <a:lnTo>
                    <a:pt x="81698" y="13284"/>
                  </a:lnTo>
                  <a:cubicBezTo>
                    <a:pt x="81698" y="13284"/>
                    <a:pt x="81698" y="13284"/>
                    <a:pt x="81698" y="13284"/>
                  </a:cubicBezTo>
                  <a:lnTo>
                    <a:pt x="81698" y="13284"/>
                  </a:lnTo>
                  <a:lnTo>
                    <a:pt x="81698" y="13284"/>
                  </a:lnTo>
                  <a:lnTo>
                    <a:pt x="81698" y="13284"/>
                  </a:lnTo>
                  <a:lnTo>
                    <a:pt x="82965" y="12676"/>
                  </a:lnTo>
                  <a:lnTo>
                    <a:pt x="84231" y="12169"/>
                  </a:lnTo>
                  <a:cubicBezTo>
                    <a:pt x="85094" y="11937"/>
                    <a:pt x="86003" y="11937"/>
                    <a:pt x="86866" y="12169"/>
                  </a:cubicBezTo>
                  <a:cubicBezTo>
                    <a:pt x="89399" y="13069"/>
                    <a:pt x="91510" y="14873"/>
                    <a:pt x="92794" y="17235"/>
                  </a:cubicBezTo>
                  <a:cubicBezTo>
                    <a:pt x="93612" y="18542"/>
                    <a:pt x="94196" y="19983"/>
                    <a:pt x="94516" y="21491"/>
                  </a:cubicBezTo>
                  <a:cubicBezTo>
                    <a:pt x="94746" y="22798"/>
                    <a:pt x="94898" y="24118"/>
                    <a:pt x="94972" y="25443"/>
                  </a:cubicBezTo>
                  <a:cubicBezTo>
                    <a:pt x="95226" y="28650"/>
                    <a:pt x="95004" y="31877"/>
                    <a:pt x="94313" y="35019"/>
                  </a:cubicBezTo>
                  <a:lnTo>
                    <a:pt x="94060" y="35981"/>
                  </a:lnTo>
                  <a:cubicBezTo>
                    <a:pt x="91765" y="46789"/>
                    <a:pt x="87524" y="57089"/>
                    <a:pt x="81546" y="66380"/>
                  </a:cubicBezTo>
                  <a:cubicBezTo>
                    <a:pt x="74074" y="66288"/>
                    <a:pt x="66665" y="64988"/>
                    <a:pt x="59608" y="62529"/>
                  </a:cubicBezTo>
                  <a:lnTo>
                    <a:pt x="53478" y="59287"/>
                  </a:lnTo>
                  <a:cubicBezTo>
                    <a:pt x="43345" y="54221"/>
                    <a:pt x="32452" y="47989"/>
                    <a:pt x="19735" y="50319"/>
                  </a:cubicBezTo>
                  <a:cubicBezTo>
                    <a:pt x="11680" y="51789"/>
                    <a:pt x="8285" y="61871"/>
                    <a:pt x="7981" y="67849"/>
                  </a:cubicBezTo>
                  <a:lnTo>
                    <a:pt x="6512" y="102250"/>
                  </a:lnTo>
                  <a:lnTo>
                    <a:pt x="5600" y="122516"/>
                  </a:lnTo>
                  <a:lnTo>
                    <a:pt x="1750" y="210774"/>
                  </a:lnTo>
                  <a:cubicBezTo>
                    <a:pt x="1446" y="216499"/>
                    <a:pt x="1243" y="222173"/>
                    <a:pt x="990" y="227847"/>
                  </a:cubicBezTo>
                  <a:lnTo>
                    <a:pt x="432" y="240514"/>
                  </a:lnTo>
                  <a:lnTo>
                    <a:pt x="128" y="247303"/>
                  </a:lnTo>
                  <a:lnTo>
                    <a:pt x="128" y="247759"/>
                  </a:lnTo>
                  <a:cubicBezTo>
                    <a:pt x="-43" y="248075"/>
                    <a:pt x="-43" y="248456"/>
                    <a:pt x="128" y="248772"/>
                  </a:cubicBezTo>
                  <a:cubicBezTo>
                    <a:pt x="330" y="249008"/>
                    <a:pt x="629" y="249139"/>
                    <a:pt x="939" y="249126"/>
                  </a:cubicBezTo>
                  <a:cubicBezTo>
                    <a:pt x="1151" y="249209"/>
                    <a:pt x="1386" y="249209"/>
                    <a:pt x="1598" y="249126"/>
                  </a:cubicBezTo>
                  <a:lnTo>
                    <a:pt x="1598" y="249127"/>
                  </a:lnTo>
                  <a:lnTo>
                    <a:pt x="14162" y="237828"/>
                  </a:lnTo>
                  <a:lnTo>
                    <a:pt x="18418" y="234029"/>
                  </a:lnTo>
                  <a:lnTo>
                    <a:pt x="19178" y="233319"/>
                  </a:lnTo>
                  <a:lnTo>
                    <a:pt x="35543" y="218627"/>
                  </a:lnTo>
                  <a:lnTo>
                    <a:pt x="35543" y="218627"/>
                  </a:lnTo>
                  <a:lnTo>
                    <a:pt x="36252" y="218019"/>
                  </a:lnTo>
                  <a:lnTo>
                    <a:pt x="44460" y="210622"/>
                  </a:lnTo>
                  <a:lnTo>
                    <a:pt x="49982" y="205555"/>
                  </a:lnTo>
                  <a:lnTo>
                    <a:pt x="50742" y="204896"/>
                  </a:lnTo>
                  <a:lnTo>
                    <a:pt x="56670" y="199577"/>
                  </a:lnTo>
                  <a:lnTo>
                    <a:pt x="45574" y="239146"/>
                  </a:lnTo>
                  <a:cubicBezTo>
                    <a:pt x="43700" y="238538"/>
                    <a:pt x="41825" y="237828"/>
                    <a:pt x="39951" y="237068"/>
                  </a:cubicBezTo>
                  <a:cubicBezTo>
                    <a:pt x="38562" y="236456"/>
                    <a:pt x="36949" y="236651"/>
                    <a:pt x="35745" y="237575"/>
                  </a:cubicBezTo>
                  <a:lnTo>
                    <a:pt x="35745" y="237575"/>
                  </a:lnTo>
                  <a:lnTo>
                    <a:pt x="35745" y="237575"/>
                  </a:lnTo>
                  <a:cubicBezTo>
                    <a:pt x="32306" y="238065"/>
                    <a:pt x="29195" y="239884"/>
                    <a:pt x="27082" y="242641"/>
                  </a:cubicBezTo>
                  <a:cubicBezTo>
                    <a:pt x="25878" y="244750"/>
                    <a:pt x="25603" y="247263"/>
                    <a:pt x="26322" y="249583"/>
                  </a:cubicBezTo>
                  <a:cubicBezTo>
                    <a:pt x="25985" y="250608"/>
                    <a:pt x="25731" y="251658"/>
                    <a:pt x="25562" y="252724"/>
                  </a:cubicBezTo>
                  <a:cubicBezTo>
                    <a:pt x="23637" y="252724"/>
                    <a:pt x="20090" y="254345"/>
                    <a:pt x="16898" y="260273"/>
                  </a:cubicBezTo>
                  <a:lnTo>
                    <a:pt x="14416" y="260273"/>
                  </a:lnTo>
                  <a:cubicBezTo>
                    <a:pt x="13707" y="260243"/>
                    <a:pt x="13102" y="260781"/>
                    <a:pt x="13048" y="261489"/>
                  </a:cubicBezTo>
                  <a:cubicBezTo>
                    <a:pt x="12948" y="262152"/>
                    <a:pt x="13362" y="262785"/>
                    <a:pt x="14010" y="262958"/>
                  </a:cubicBezTo>
                  <a:lnTo>
                    <a:pt x="15986" y="263566"/>
                  </a:lnTo>
                  <a:cubicBezTo>
                    <a:pt x="16198" y="267414"/>
                    <a:pt x="18041" y="270990"/>
                    <a:pt x="21053" y="273395"/>
                  </a:cubicBezTo>
                  <a:cubicBezTo>
                    <a:pt x="21214" y="274028"/>
                    <a:pt x="21332" y="274671"/>
                    <a:pt x="21407" y="275320"/>
                  </a:cubicBezTo>
                  <a:cubicBezTo>
                    <a:pt x="21396" y="278931"/>
                    <a:pt x="23612" y="282175"/>
                    <a:pt x="26981" y="283477"/>
                  </a:cubicBezTo>
                  <a:cubicBezTo>
                    <a:pt x="51060" y="289109"/>
                    <a:pt x="75714" y="291914"/>
                    <a:pt x="100444" y="291837"/>
                  </a:cubicBezTo>
                  <a:cubicBezTo>
                    <a:pt x="105510" y="291837"/>
                    <a:pt x="110577" y="291837"/>
                    <a:pt x="115289" y="291837"/>
                  </a:cubicBezTo>
                  <a:lnTo>
                    <a:pt x="117416" y="291837"/>
                  </a:lnTo>
                  <a:cubicBezTo>
                    <a:pt x="141435" y="291761"/>
                    <a:pt x="165367" y="288957"/>
                    <a:pt x="188752" y="283477"/>
                  </a:cubicBezTo>
                  <a:cubicBezTo>
                    <a:pt x="192120" y="282175"/>
                    <a:pt x="194337" y="278931"/>
                    <a:pt x="194325" y="275320"/>
                  </a:cubicBezTo>
                  <a:cubicBezTo>
                    <a:pt x="194400" y="274671"/>
                    <a:pt x="194519" y="274028"/>
                    <a:pt x="194680" y="273395"/>
                  </a:cubicBezTo>
                  <a:cubicBezTo>
                    <a:pt x="197712" y="271007"/>
                    <a:pt x="199561" y="267421"/>
                    <a:pt x="199746" y="263566"/>
                  </a:cubicBezTo>
                  <a:lnTo>
                    <a:pt x="201722" y="262958"/>
                  </a:lnTo>
                  <a:cubicBezTo>
                    <a:pt x="202377" y="262786"/>
                    <a:pt x="202808" y="262162"/>
                    <a:pt x="202735" y="261489"/>
                  </a:cubicBezTo>
                  <a:cubicBezTo>
                    <a:pt x="202637" y="260804"/>
                    <a:pt x="202059" y="260290"/>
                    <a:pt x="201368" y="260273"/>
                  </a:cubicBezTo>
                  <a:lnTo>
                    <a:pt x="198834" y="260273"/>
                  </a:lnTo>
                  <a:cubicBezTo>
                    <a:pt x="195642" y="254345"/>
                    <a:pt x="192146" y="252977"/>
                    <a:pt x="190221" y="252724"/>
                  </a:cubicBezTo>
                  <a:cubicBezTo>
                    <a:pt x="190012" y="251662"/>
                    <a:pt x="189741" y="250613"/>
                    <a:pt x="189411" y="249582"/>
                  </a:cubicBezTo>
                  <a:cubicBezTo>
                    <a:pt x="190121" y="247268"/>
                    <a:pt x="189865" y="244765"/>
                    <a:pt x="188701" y="242641"/>
                  </a:cubicBezTo>
                  <a:cubicBezTo>
                    <a:pt x="186568" y="239881"/>
                    <a:pt x="183441" y="238063"/>
                    <a:pt x="179987" y="237575"/>
                  </a:cubicBezTo>
                  <a:lnTo>
                    <a:pt x="179987" y="237575"/>
                  </a:lnTo>
                  <a:lnTo>
                    <a:pt x="179987" y="237575"/>
                  </a:lnTo>
                  <a:cubicBezTo>
                    <a:pt x="178783" y="236651"/>
                    <a:pt x="177171" y="236456"/>
                    <a:pt x="175782" y="237068"/>
                  </a:cubicBezTo>
                  <a:cubicBezTo>
                    <a:pt x="173907" y="237828"/>
                    <a:pt x="172033" y="238538"/>
                    <a:pt x="170209" y="239146"/>
                  </a:cubicBezTo>
                  <a:lnTo>
                    <a:pt x="159063" y="199577"/>
                  </a:lnTo>
                  <a:lnTo>
                    <a:pt x="165750" y="205555"/>
                  </a:lnTo>
                  <a:lnTo>
                    <a:pt x="170513" y="209811"/>
                  </a:lnTo>
                  <a:lnTo>
                    <a:pt x="171273" y="210520"/>
                  </a:lnTo>
                  <a:lnTo>
                    <a:pt x="180190" y="218525"/>
                  </a:lnTo>
                  <a:lnTo>
                    <a:pt x="180190" y="218525"/>
                  </a:lnTo>
                  <a:lnTo>
                    <a:pt x="184952" y="222781"/>
                  </a:lnTo>
                  <a:lnTo>
                    <a:pt x="197314" y="233927"/>
                  </a:lnTo>
                  <a:lnTo>
                    <a:pt x="201570" y="237727"/>
                  </a:lnTo>
                  <a:lnTo>
                    <a:pt x="214186" y="249025"/>
                  </a:lnTo>
                  <a:lnTo>
                    <a:pt x="214186" y="249025"/>
                  </a:lnTo>
                  <a:cubicBezTo>
                    <a:pt x="214413" y="249115"/>
                    <a:pt x="214667" y="249115"/>
                    <a:pt x="214895" y="249025"/>
                  </a:cubicBezTo>
                  <a:cubicBezTo>
                    <a:pt x="215189" y="249029"/>
                    <a:pt x="215469" y="248899"/>
                    <a:pt x="215655" y="248671"/>
                  </a:cubicBezTo>
                  <a:cubicBezTo>
                    <a:pt x="216029" y="248634"/>
                    <a:pt x="216357" y="248403"/>
                    <a:pt x="216516" y="248063"/>
                  </a:cubicBezTo>
                  <a:close/>
                  <a:moveTo>
                    <a:pt x="106980" y="6545"/>
                  </a:moveTo>
                  <a:cubicBezTo>
                    <a:pt x="108127" y="6545"/>
                    <a:pt x="109057" y="7475"/>
                    <a:pt x="109057" y="8623"/>
                  </a:cubicBezTo>
                  <a:cubicBezTo>
                    <a:pt x="109030" y="9759"/>
                    <a:pt x="108116" y="10673"/>
                    <a:pt x="106980" y="10700"/>
                  </a:cubicBezTo>
                  <a:cubicBezTo>
                    <a:pt x="105832" y="10700"/>
                    <a:pt x="104902" y="9770"/>
                    <a:pt x="104902" y="8623"/>
                  </a:cubicBezTo>
                  <a:cubicBezTo>
                    <a:pt x="104902" y="7475"/>
                    <a:pt x="105832" y="6545"/>
                    <a:pt x="106980" y="6545"/>
                  </a:cubicBezTo>
                  <a:close/>
                  <a:moveTo>
                    <a:pt x="83269" y="68660"/>
                  </a:moveTo>
                  <a:cubicBezTo>
                    <a:pt x="83775" y="68001"/>
                    <a:pt x="84231" y="67343"/>
                    <a:pt x="84687" y="66633"/>
                  </a:cubicBezTo>
                  <a:lnTo>
                    <a:pt x="86004" y="64607"/>
                  </a:lnTo>
                  <a:lnTo>
                    <a:pt x="87271" y="62529"/>
                  </a:lnTo>
                  <a:lnTo>
                    <a:pt x="87828" y="61466"/>
                  </a:lnTo>
                  <a:cubicBezTo>
                    <a:pt x="88034" y="61122"/>
                    <a:pt x="88220" y="60766"/>
                    <a:pt x="88386" y="60402"/>
                  </a:cubicBezTo>
                  <a:cubicBezTo>
                    <a:pt x="88791" y="59642"/>
                    <a:pt x="89146" y="58882"/>
                    <a:pt x="89500" y="58122"/>
                  </a:cubicBezTo>
                  <a:cubicBezTo>
                    <a:pt x="89638" y="57913"/>
                    <a:pt x="89757" y="57693"/>
                    <a:pt x="89855" y="57463"/>
                  </a:cubicBezTo>
                  <a:cubicBezTo>
                    <a:pt x="89855" y="57007"/>
                    <a:pt x="90260" y="56602"/>
                    <a:pt x="90412" y="56146"/>
                  </a:cubicBezTo>
                  <a:lnTo>
                    <a:pt x="91020" y="54829"/>
                  </a:lnTo>
                  <a:lnTo>
                    <a:pt x="91020" y="54829"/>
                  </a:lnTo>
                  <a:lnTo>
                    <a:pt x="91324" y="54119"/>
                  </a:lnTo>
                  <a:cubicBezTo>
                    <a:pt x="91578" y="53562"/>
                    <a:pt x="91780" y="53005"/>
                    <a:pt x="91983" y="52447"/>
                  </a:cubicBezTo>
                  <a:cubicBezTo>
                    <a:pt x="92131" y="52138"/>
                    <a:pt x="92250" y="51816"/>
                    <a:pt x="92338" y="51485"/>
                  </a:cubicBezTo>
                  <a:cubicBezTo>
                    <a:pt x="92338" y="50978"/>
                    <a:pt x="92743" y="50471"/>
                    <a:pt x="92895" y="49965"/>
                  </a:cubicBezTo>
                  <a:cubicBezTo>
                    <a:pt x="93047" y="49458"/>
                    <a:pt x="93655" y="47837"/>
                    <a:pt x="94010" y="46773"/>
                  </a:cubicBezTo>
                  <a:cubicBezTo>
                    <a:pt x="94010" y="46773"/>
                    <a:pt x="94010" y="46266"/>
                    <a:pt x="94010" y="46064"/>
                  </a:cubicBezTo>
                  <a:lnTo>
                    <a:pt x="94313" y="45101"/>
                  </a:lnTo>
                  <a:cubicBezTo>
                    <a:pt x="94421" y="44804"/>
                    <a:pt x="94506" y="44499"/>
                    <a:pt x="94567" y="44189"/>
                  </a:cubicBezTo>
                  <a:cubicBezTo>
                    <a:pt x="95479" y="41200"/>
                    <a:pt x="96137" y="38616"/>
                    <a:pt x="96644" y="36640"/>
                  </a:cubicBezTo>
                  <a:lnTo>
                    <a:pt x="96897" y="35677"/>
                  </a:lnTo>
                  <a:cubicBezTo>
                    <a:pt x="97647" y="32355"/>
                    <a:pt x="97886" y="28939"/>
                    <a:pt x="97607" y="25544"/>
                  </a:cubicBezTo>
                  <a:cubicBezTo>
                    <a:pt x="97532" y="24116"/>
                    <a:pt x="97363" y="22695"/>
                    <a:pt x="97100" y="21289"/>
                  </a:cubicBezTo>
                  <a:cubicBezTo>
                    <a:pt x="97100" y="20934"/>
                    <a:pt x="97100" y="20579"/>
                    <a:pt x="96847" y="20225"/>
                  </a:cubicBezTo>
                  <a:cubicBezTo>
                    <a:pt x="97961" y="19262"/>
                    <a:pt x="100039" y="19819"/>
                    <a:pt x="103180" y="19819"/>
                  </a:cubicBezTo>
                  <a:cubicBezTo>
                    <a:pt x="96391" y="9687"/>
                    <a:pt x="92338" y="8572"/>
                    <a:pt x="88842" y="7812"/>
                  </a:cubicBezTo>
                  <a:cubicBezTo>
                    <a:pt x="86698" y="7462"/>
                    <a:pt x="84597" y="8638"/>
                    <a:pt x="83775" y="10649"/>
                  </a:cubicBezTo>
                  <a:lnTo>
                    <a:pt x="82914" y="11004"/>
                  </a:lnTo>
                  <a:lnTo>
                    <a:pt x="82509" y="11004"/>
                  </a:lnTo>
                  <a:cubicBezTo>
                    <a:pt x="82381" y="9910"/>
                    <a:pt x="82381" y="8805"/>
                    <a:pt x="82509" y="7711"/>
                  </a:cubicBezTo>
                  <a:cubicBezTo>
                    <a:pt x="82509" y="7356"/>
                    <a:pt x="82509" y="7103"/>
                    <a:pt x="82509" y="6799"/>
                  </a:cubicBezTo>
                  <a:cubicBezTo>
                    <a:pt x="82509" y="6495"/>
                    <a:pt x="82509" y="6799"/>
                    <a:pt x="82509" y="6495"/>
                  </a:cubicBezTo>
                  <a:cubicBezTo>
                    <a:pt x="82653" y="6109"/>
                    <a:pt x="82858" y="5750"/>
                    <a:pt x="83117" y="5431"/>
                  </a:cubicBezTo>
                  <a:cubicBezTo>
                    <a:pt x="83846" y="4729"/>
                    <a:pt x="84794" y="4300"/>
                    <a:pt x="85802" y="4215"/>
                  </a:cubicBezTo>
                  <a:cubicBezTo>
                    <a:pt x="87183" y="3919"/>
                    <a:pt x="88596" y="3800"/>
                    <a:pt x="90007" y="3860"/>
                  </a:cubicBezTo>
                  <a:cubicBezTo>
                    <a:pt x="91128" y="3811"/>
                    <a:pt x="92223" y="4212"/>
                    <a:pt x="93047" y="4975"/>
                  </a:cubicBezTo>
                  <a:cubicBezTo>
                    <a:pt x="94782" y="6576"/>
                    <a:pt x="96685" y="7986"/>
                    <a:pt x="98721" y="9180"/>
                  </a:cubicBezTo>
                  <a:cubicBezTo>
                    <a:pt x="100132" y="10213"/>
                    <a:pt x="101761" y="10907"/>
                    <a:pt x="103484" y="11206"/>
                  </a:cubicBezTo>
                  <a:cubicBezTo>
                    <a:pt x="103889" y="11206"/>
                    <a:pt x="104446" y="12068"/>
                    <a:pt x="104700" y="12321"/>
                  </a:cubicBezTo>
                  <a:cubicBezTo>
                    <a:pt x="105176" y="12837"/>
                    <a:pt x="105825" y="13161"/>
                    <a:pt x="106523" y="13233"/>
                  </a:cubicBezTo>
                  <a:cubicBezTo>
                    <a:pt x="107689" y="13283"/>
                    <a:pt x="108777" y="12650"/>
                    <a:pt x="109310" y="11612"/>
                  </a:cubicBezTo>
                  <a:cubicBezTo>
                    <a:pt x="109614" y="11054"/>
                    <a:pt x="110779" y="10598"/>
                    <a:pt x="111337" y="10345"/>
                  </a:cubicBezTo>
                  <a:cubicBezTo>
                    <a:pt x="112429" y="9851"/>
                    <a:pt x="113566" y="9461"/>
                    <a:pt x="114731" y="9180"/>
                  </a:cubicBezTo>
                  <a:cubicBezTo>
                    <a:pt x="116098" y="8886"/>
                    <a:pt x="117489" y="8717"/>
                    <a:pt x="118886" y="8673"/>
                  </a:cubicBezTo>
                  <a:cubicBezTo>
                    <a:pt x="120470" y="8400"/>
                    <a:pt x="122096" y="8825"/>
                    <a:pt x="123344" y="9839"/>
                  </a:cubicBezTo>
                  <a:cubicBezTo>
                    <a:pt x="123508" y="10021"/>
                    <a:pt x="123645" y="10225"/>
                    <a:pt x="123750" y="10447"/>
                  </a:cubicBezTo>
                  <a:cubicBezTo>
                    <a:pt x="124105" y="11098"/>
                    <a:pt x="124410" y="11775"/>
                    <a:pt x="124661" y="12473"/>
                  </a:cubicBezTo>
                  <a:cubicBezTo>
                    <a:pt x="125114" y="13537"/>
                    <a:pt x="125471" y="14639"/>
                    <a:pt x="125725" y="15766"/>
                  </a:cubicBezTo>
                  <a:cubicBezTo>
                    <a:pt x="126555" y="18571"/>
                    <a:pt x="127065" y="21460"/>
                    <a:pt x="127245" y="24379"/>
                  </a:cubicBezTo>
                  <a:lnTo>
                    <a:pt x="127245" y="25494"/>
                  </a:lnTo>
                  <a:cubicBezTo>
                    <a:pt x="127245" y="27014"/>
                    <a:pt x="127245" y="28736"/>
                    <a:pt x="127245" y="30560"/>
                  </a:cubicBezTo>
                  <a:cubicBezTo>
                    <a:pt x="126786" y="37328"/>
                    <a:pt x="127092" y="44127"/>
                    <a:pt x="128157" y="50826"/>
                  </a:cubicBezTo>
                  <a:cubicBezTo>
                    <a:pt x="129121" y="56177"/>
                    <a:pt x="131007" y="61320"/>
                    <a:pt x="133730" y="66025"/>
                  </a:cubicBezTo>
                  <a:lnTo>
                    <a:pt x="134997" y="68052"/>
                  </a:lnTo>
                  <a:cubicBezTo>
                    <a:pt x="135417" y="68751"/>
                    <a:pt x="135874" y="69427"/>
                    <a:pt x="136365" y="70079"/>
                  </a:cubicBezTo>
                  <a:cubicBezTo>
                    <a:pt x="134066" y="69916"/>
                    <a:pt x="131816" y="69332"/>
                    <a:pt x="129728" y="68356"/>
                  </a:cubicBezTo>
                  <a:cubicBezTo>
                    <a:pt x="128866" y="67923"/>
                    <a:pt x="128065" y="67378"/>
                    <a:pt x="127347" y="66735"/>
                  </a:cubicBezTo>
                  <a:lnTo>
                    <a:pt x="127347" y="66329"/>
                  </a:lnTo>
                  <a:lnTo>
                    <a:pt x="126384" y="63948"/>
                  </a:lnTo>
                  <a:cubicBezTo>
                    <a:pt x="125269" y="61162"/>
                    <a:pt x="124104" y="58274"/>
                    <a:pt x="123243" y="55487"/>
                  </a:cubicBezTo>
                  <a:cubicBezTo>
                    <a:pt x="121696" y="49087"/>
                    <a:pt x="120746" y="42557"/>
                    <a:pt x="120406" y="35981"/>
                  </a:cubicBezTo>
                  <a:cubicBezTo>
                    <a:pt x="120406" y="35422"/>
                    <a:pt x="119953" y="34967"/>
                    <a:pt x="119394" y="34967"/>
                  </a:cubicBezTo>
                  <a:cubicBezTo>
                    <a:pt x="119376" y="34967"/>
                    <a:pt x="119359" y="34967"/>
                    <a:pt x="119342" y="34968"/>
                  </a:cubicBezTo>
                  <a:cubicBezTo>
                    <a:pt x="118783" y="34993"/>
                    <a:pt x="118350" y="35467"/>
                    <a:pt x="118375" y="36026"/>
                  </a:cubicBezTo>
                  <a:cubicBezTo>
                    <a:pt x="118376" y="36045"/>
                    <a:pt x="118377" y="36064"/>
                    <a:pt x="118379" y="36083"/>
                  </a:cubicBezTo>
                  <a:cubicBezTo>
                    <a:pt x="118631" y="42920"/>
                    <a:pt x="119599" y="49713"/>
                    <a:pt x="121267" y="56348"/>
                  </a:cubicBezTo>
                  <a:cubicBezTo>
                    <a:pt x="122179" y="59186"/>
                    <a:pt x="123344" y="62124"/>
                    <a:pt x="124459" y="64961"/>
                  </a:cubicBezTo>
                  <a:cubicBezTo>
                    <a:pt x="124712" y="65519"/>
                    <a:pt x="124915" y="66076"/>
                    <a:pt x="125117" y="66583"/>
                  </a:cubicBezTo>
                  <a:cubicBezTo>
                    <a:pt x="125320" y="67089"/>
                    <a:pt x="125675" y="68001"/>
                    <a:pt x="125928" y="68660"/>
                  </a:cubicBezTo>
                  <a:cubicBezTo>
                    <a:pt x="126543" y="70136"/>
                    <a:pt x="127035" y="71662"/>
                    <a:pt x="127397" y="73220"/>
                  </a:cubicBezTo>
                  <a:cubicBezTo>
                    <a:pt x="123981" y="72385"/>
                    <a:pt x="120762" y="70887"/>
                    <a:pt x="117923" y="68812"/>
                  </a:cubicBezTo>
                  <a:cubicBezTo>
                    <a:pt x="117186" y="68294"/>
                    <a:pt x="116522" y="67681"/>
                    <a:pt x="115947" y="66988"/>
                  </a:cubicBezTo>
                  <a:cubicBezTo>
                    <a:pt x="115947" y="66988"/>
                    <a:pt x="115947" y="66988"/>
                    <a:pt x="115947" y="66988"/>
                  </a:cubicBezTo>
                  <a:cubicBezTo>
                    <a:pt x="114739" y="56579"/>
                    <a:pt x="114197" y="46104"/>
                    <a:pt x="114326" y="35627"/>
                  </a:cubicBezTo>
                  <a:cubicBezTo>
                    <a:pt x="114354" y="35068"/>
                    <a:pt x="113923" y="34592"/>
                    <a:pt x="113364" y="34564"/>
                  </a:cubicBezTo>
                  <a:cubicBezTo>
                    <a:pt x="113347" y="34563"/>
                    <a:pt x="113330" y="34563"/>
                    <a:pt x="113312" y="34563"/>
                  </a:cubicBezTo>
                  <a:cubicBezTo>
                    <a:pt x="112725" y="34563"/>
                    <a:pt x="112249" y="35039"/>
                    <a:pt x="112249" y="35627"/>
                  </a:cubicBezTo>
                  <a:cubicBezTo>
                    <a:pt x="112122" y="46103"/>
                    <a:pt x="112647" y="56577"/>
                    <a:pt x="113819" y="66988"/>
                  </a:cubicBezTo>
                  <a:cubicBezTo>
                    <a:pt x="113819" y="66988"/>
                    <a:pt x="113819" y="67343"/>
                    <a:pt x="113819" y="67495"/>
                  </a:cubicBezTo>
                  <a:cubicBezTo>
                    <a:pt x="113819" y="67647"/>
                    <a:pt x="113161" y="68457"/>
                    <a:pt x="112654" y="69065"/>
                  </a:cubicBezTo>
                  <a:cubicBezTo>
                    <a:pt x="111865" y="70027"/>
                    <a:pt x="111019" y="70941"/>
                    <a:pt x="110121" y="71801"/>
                  </a:cubicBezTo>
                  <a:lnTo>
                    <a:pt x="108854" y="73068"/>
                  </a:lnTo>
                  <a:lnTo>
                    <a:pt x="108044" y="72460"/>
                  </a:lnTo>
                  <a:cubicBezTo>
                    <a:pt x="106872" y="71403"/>
                    <a:pt x="105771" y="70269"/>
                    <a:pt x="104750" y="69065"/>
                  </a:cubicBezTo>
                  <a:lnTo>
                    <a:pt x="103028" y="66988"/>
                  </a:lnTo>
                  <a:lnTo>
                    <a:pt x="103028" y="66988"/>
                  </a:lnTo>
                  <a:cubicBezTo>
                    <a:pt x="108094" y="59287"/>
                    <a:pt x="108956" y="48597"/>
                    <a:pt x="109564" y="34968"/>
                  </a:cubicBezTo>
                  <a:cubicBezTo>
                    <a:pt x="109620" y="34439"/>
                    <a:pt x="109236" y="33965"/>
                    <a:pt x="108708" y="33909"/>
                  </a:cubicBezTo>
                  <a:cubicBezTo>
                    <a:pt x="108672" y="33906"/>
                    <a:pt x="108636" y="33904"/>
                    <a:pt x="108601" y="33904"/>
                  </a:cubicBezTo>
                  <a:cubicBezTo>
                    <a:pt x="108044" y="33848"/>
                    <a:pt x="107547" y="34253"/>
                    <a:pt x="107490" y="34810"/>
                  </a:cubicBezTo>
                  <a:cubicBezTo>
                    <a:pt x="107489" y="34829"/>
                    <a:pt x="107487" y="34848"/>
                    <a:pt x="107486" y="34867"/>
                  </a:cubicBezTo>
                  <a:cubicBezTo>
                    <a:pt x="106878" y="48850"/>
                    <a:pt x="105916" y="59642"/>
                    <a:pt x="100444" y="66988"/>
                  </a:cubicBezTo>
                  <a:cubicBezTo>
                    <a:pt x="99913" y="67715"/>
                    <a:pt x="99337" y="68409"/>
                    <a:pt x="98721" y="69065"/>
                  </a:cubicBezTo>
                  <a:cubicBezTo>
                    <a:pt x="97029" y="70825"/>
                    <a:pt x="95061" y="72297"/>
                    <a:pt x="92895" y="73422"/>
                  </a:cubicBezTo>
                  <a:cubicBezTo>
                    <a:pt x="92895" y="72206"/>
                    <a:pt x="93402" y="70534"/>
                    <a:pt x="93706" y="68964"/>
                  </a:cubicBezTo>
                  <a:cubicBezTo>
                    <a:pt x="93706" y="68255"/>
                    <a:pt x="93959" y="67545"/>
                    <a:pt x="94111" y="66887"/>
                  </a:cubicBezTo>
                  <a:cubicBezTo>
                    <a:pt x="94135" y="66685"/>
                    <a:pt x="94135" y="66481"/>
                    <a:pt x="94111" y="66279"/>
                  </a:cubicBezTo>
                  <a:cubicBezTo>
                    <a:pt x="98012" y="61212"/>
                    <a:pt x="101660" y="51991"/>
                    <a:pt x="104244" y="35880"/>
                  </a:cubicBezTo>
                  <a:cubicBezTo>
                    <a:pt x="104328" y="35320"/>
                    <a:pt x="103942" y="34799"/>
                    <a:pt x="103382" y="34715"/>
                  </a:cubicBezTo>
                  <a:cubicBezTo>
                    <a:pt x="102823" y="34631"/>
                    <a:pt x="102301" y="35016"/>
                    <a:pt x="102217" y="35576"/>
                  </a:cubicBezTo>
                  <a:cubicBezTo>
                    <a:pt x="99532" y="53613"/>
                    <a:pt x="95327" y="62428"/>
                    <a:pt x="91122" y="66785"/>
                  </a:cubicBezTo>
                  <a:cubicBezTo>
                    <a:pt x="90423" y="67545"/>
                    <a:pt x="89641" y="68225"/>
                    <a:pt x="88791" y="68812"/>
                  </a:cubicBezTo>
                  <a:cubicBezTo>
                    <a:pt x="87616" y="69639"/>
                    <a:pt x="86316" y="70272"/>
                    <a:pt x="84941" y="70687"/>
                  </a:cubicBezTo>
                  <a:cubicBezTo>
                    <a:pt x="83829" y="70990"/>
                    <a:pt x="82693" y="71193"/>
                    <a:pt x="81546" y="71294"/>
                  </a:cubicBezTo>
                  <a:cubicBezTo>
                    <a:pt x="81647" y="70534"/>
                    <a:pt x="82509" y="69572"/>
                    <a:pt x="83218" y="68660"/>
                  </a:cubicBezTo>
                  <a:close/>
                  <a:moveTo>
                    <a:pt x="68728" y="195726"/>
                  </a:moveTo>
                  <a:lnTo>
                    <a:pt x="73288" y="207531"/>
                  </a:lnTo>
                  <a:cubicBezTo>
                    <a:pt x="73373" y="207796"/>
                    <a:pt x="73617" y="207979"/>
                    <a:pt x="73896" y="207987"/>
                  </a:cubicBezTo>
                  <a:cubicBezTo>
                    <a:pt x="74173" y="208049"/>
                    <a:pt x="74459" y="207927"/>
                    <a:pt x="74605" y="207683"/>
                  </a:cubicBezTo>
                  <a:lnTo>
                    <a:pt x="82103" y="197550"/>
                  </a:lnTo>
                  <a:lnTo>
                    <a:pt x="85903" y="216397"/>
                  </a:lnTo>
                  <a:cubicBezTo>
                    <a:pt x="82154" y="221818"/>
                    <a:pt x="78810" y="226530"/>
                    <a:pt x="77341" y="228607"/>
                  </a:cubicBezTo>
                  <a:cubicBezTo>
                    <a:pt x="76632" y="226429"/>
                    <a:pt x="75162" y="222173"/>
                    <a:pt x="72882" y="215789"/>
                  </a:cubicBezTo>
                  <a:cubicBezTo>
                    <a:pt x="72791" y="215520"/>
                    <a:pt x="72556" y="215324"/>
                    <a:pt x="72275" y="215283"/>
                  </a:cubicBezTo>
                  <a:cubicBezTo>
                    <a:pt x="71986" y="215249"/>
                    <a:pt x="71700" y="215364"/>
                    <a:pt x="71515" y="215587"/>
                  </a:cubicBezTo>
                  <a:lnTo>
                    <a:pt x="63560" y="227391"/>
                  </a:lnTo>
                  <a:lnTo>
                    <a:pt x="57480" y="206771"/>
                  </a:lnTo>
                  <a:close/>
                  <a:moveTo>
                    <a:pt x="63662" y="113447"/>
                  </a:moveTo>
                  <a:cubicBezTo>
                    <a:pt x="64519" y="118905"/>
                    <a:pt x="65720" y="124303"/>
                    <a:pt x="67259" y="129609"/>
                  </a:cubicBezTo>
                  <a:lnTo>
                    <a:pt x="64725" y="190761"/>
                  </a:lnTo>
                  <a:lnTo>
                    <a:pt x="63965" y="191470"/>
                  </a:lnTo>
                  <a:lnTo>
                    <a:pt x="62142" y="193092"/>
                  </a:lnTo>
                  <a:lnTo>
                    <a:pt x="60267" y="194764"/>
                  </a:lnTo>
                  <a:close/>
                  <a:moveTo>
                    <a:pt x="157593" y="194510"/>
                  </a:moveTo>
                  <a:lnTo>
                    <a:pt x="155719" y="192838"/>
                  </a:lnTo>
                  <a:lnTo>
                    <a:pt x="153895" y="191217"/>
                  </a:lnTo>
                  <a:lnTo>
                    <a:pt x="153135" y="190508"/>
                  </a:lnTo>
                  <a:lnTo>
                    <a:pt x="150602" y="129356"/>
                  </a:lnTo>
                  <a:cubicBezTo>
                    <a:pt x="152164" y="124056"/>
                    <a:pt x="153366" y="118656"/>
                    <a:pt x="154199" y="113194"/>
                  </a:cubicBezTo>
                  <a:close/>
                  <a:moveTo>
                    <a:pt x="150804" y="243756"/>
                  </a:moveTo>
                  <a:lnTo>
                    <a:pt x="154655" y="230634"/>
                  </a:lnTo>
                  <a:lnTo>
                    <a:pt x="162052" y="241628"/>
                  </a:lnTo>
                  <a:cubicBezTo>
                    <a:pt x="157644" y="242844"/>
                    <a:pt x="154097" y="243503"/>
                    <a:pt x="150551" y="244009"/>
                  </a:cubicBezTo>
                  <a:close/>
                  <a:moveTo>
                    <a:pt x="149234" y="243756"/>
                  </a:moveTo>
                  <a:lnTo>
                    <a:pt x="142445" y="235194"/>
                  </a:lnTo>
                  <a:cubicBezTo>
                    <a:pt x="142289" y="234961"/>
                    <a:pt x="142011" y="234842"/>
                    <a:pt x="141735" y="234890"/>
                  </a:cubicBezTo>
                  <a:cubicBezTo>
                    <a:pt x="141470" y="234932"/>
                    <a:pt x="141242" y="235102"/>
                    <a:pt x="141127" y="235346"/>
                  </a:cubicBezTo>
                  <a:lnTo>
                    <a:pt x="137378" y="245023"/>
                  </a:lnTo>
                  <a:cubicBezTo>
                    <a:pt x="134845" y="245023"/>
                    <a:pt x="132312" y="245023"/>
                    <a:pt x="130437" y="245023"/>
                  </a:cubicBezTo>
                  <a:lnTo>
                    <a:pt x="128005" y="233573"/>
                  </a:lnTo>
                  <a:lnTo>
                    <a:pt x="130994" y="218373"/>
                  </a:lnTo>
                  <a:cubicBezTo>
                    <a:pt x="139759" y="231039"/>
                    <a:pt x="139810" y="230989"/>
                    <a:pt x="140519" y="230786"/>
                  </a:cubicBezTo>
                  <a:cubicBezTo>
                    <a:pt x="140824" y="230703"/>
                    <a:pt x="141046" y="230441"/>
                    <a:pt x="141077" y="230127"/>
                  </a:cubicBezTo>
                  <a:cubicBezTo>
                    <a:pt x="141077" y="229367"/>
                    <a:pt x="143610" y="222528"/>
                    <a:pt x="145333" y="217563"/>
                  </a:cubicBezTo>
                  <a:lnTo>
                    <a:pt x="153186" y="229165"/>
                  </a:lnTo>
                  <a:close/>
                  <a:moveTo>
                    <a:pt x="147663" y="244212"/>
                  </a:moveTo>
                  <a:cubicBezTo>
                    <a:pt x="144725" y="244516"/>
                    <a:pt x="141938" y="244719"/>
                    <a:pt x="139405" y="244769"/>
                  </a:cubicBezTo>
                  <a:lnTo>
                    <a:pt x="142394" y="237018"/>
                  </a:lnTo>
                  <a:close/>
                  <a:moveTo>
                    <a:pt x="117264" y="251862"/>
                  </a:moveTo>
                  <a:lnTo>
                    <a:pt x="117822" y="252724"/>
                  </a:lnTo>
                  <a:cubicBezTo>
                    <a:pt x="118177" y="253238"/>
                    <a:pt x="118603" y="253699"/>
                    <a:pt x="119088" y="254092"/>
                  </a:cubicBezTo>
                  <a:cubicBezTo>
                    <a:pt x="119112" y="254260"/>
                    <a:pt x="119112" y="254430"/>
                    <a:pt x="119088" y="254598"/>
                  </a:cubicBezTo>
                  <a:cubicBezTo>
                    <a:pt x="118734" y="255764"/>
                    <a:pt x="117670" y="256422"/>
                    <a:pt x="116454" y="257132"/>
                  </a:cubicBezTo>
                  <a:lnTo>
                    <a:pt x="115187" y="257891"/>
                  </a:lnTo>
                  <a:cubicBezTo>
                    <a:pt x="114354" y="258386"/>
                    <a:pt x="113698" y="259131"/>
                    <a:pt x="113313" y="260019"/>
                  </a:cubicBezTo>
                  <a:cubicBezTo>
                    <a:pt x="112603" y="258258"/>
                    <a:pt x="112093" y="256423"/>
                    <a:pt x="111793" y="254548"/>
                  </a:cubicBezTo>
                  <a:cubicBezTo>
                    <a:pt x="111668" y="253623"/>
                    <a:pt x="111668" y="252686"/>
                    <a:pt x="111793" y="251761"/>
                  </a:cubicBezTo>
                  <a:cubicBezTo>
                    <a:pt x="111899" y="251110"/>
                    <a:pt x="112141" y="250489"/>
                    <a:pt x="112502" y="249937"/>
                  </a:cubicBezTo>
                  <a:cubicBezTo>
                    <a:pt x="113331" y="248924"/>
                    <a:pt x="114589" y="248361"/>
                    <a:pt x="115897" y="248417"/>
                  </a:cubicBezTo>
                  <a:cubicBezTo>
                    <a:pt x="115741" y="249175"/>
                    <a:pt x="115947" y="249961"/>
                    <a:pt x="116454" y="250545"/>
                  </a:cubicBezTo>
                  <a:cubicBezTo>
                    <a:pt x="116833" y="250908"/>
                    <a:pt x="117142" y="251337"/>
                    <a:pt x="117366" y="251812"/>
                  </a:cubicBezTo>
                  <a:close/>
                  <a:moveTo>
                    <a:pt x="116353" y="246796"/>
                  </a:moveTo>
                  <a:cubicBezTo>
                    <a:pt x="114405" y="246626"/>
                    <a:pt x="112503" y="247444"/>
                    <a:pt x="111286" y="248975"/>
                  </a:cubicBezTo>
                  <a:cubicBezTo>
                    <a:pt x="110764" y="249784"/>
                    <a:pt x="110434" y="250703"/>
                    <a:pt x="110323" y="251660"/>
                  </a:cubicBezTo>
                  <a:lnTo>
                    <a:pt x="107436" y="251660"/>
                  </a:lnTo>
                  <a:cubicBezTo>
                    <a:pt x="107349" y="250697"/>
                    <a:pt x="107017" y="249773"/>
                    <a:pt x="106473" y="248975"/>
                  </a:cubicBezTo>
                  <a:cubicBezTo>
                    <a:pt x="105256" y="247444"/>
                    <a:pt x="103354" y="246626"/>
                    <a:pt x="101406" y="246796"/>
                  </a:cubicBezTo>
                  <a:cubicBezTo>
                    <a:pt x="100388" y="245419"/>
                    <a:pt x="98810" y="244565"/>
                    <a:pt x="97100" y="244465"/>
                  </a:cubicBezTo>
                  <a:cubicBezTo>
                    <a:pt x="95514" y="244367"/>
                    <a:pt x="93923" y="244367"/>
                    <a:pt x="92338" y="244465"/>
                  </a:cubicBezTo>
                  <a:lnTo>
                    <a:pt x="88791" y="244465"/>
                  </a:lnTo>
                  <a:lnTo>
                    <a:pt x="90564" y="236156"/>
                  </a:lnTo>
                  <a:lnTo>
                    <a:pt x="94111" y="241932"/>
                  </a:lnTo>
                  <a:cubicBezTo>
                    <a:pt x="94343" y="242212"/>
                    <a:pt x="94758" y="242250"/>
                    <a:pt x="95038" y="242018"/>
                  </a:cubicBezTo>
                  <a:cubicBezTo>
                    <a:pt x="95070" y="241992"/>
                    <a:pt x="95098" y="241963"/>
                    <a:pt x="95124" y="241932"/>
                  </a:cubicBezTo>
                  <a:lnTo>
                    <a:pt x="100951" y="236866"/>
                  </a:lnTo>
                  <a:cubicBezTo>
                    <a:pt x="101005" y="236719"/>
                    <a:pt x="101005" y="236557"/>
                    <a:pt x="100951" y="236410"/>
                  </a:cubicBezTo>
                  <a:lnTo>
                    <a:pt x="105409" y="201553"/>
                  </a:lnTo>
                  <a:lnTo>
                    <a:pt x="103180" y="236714"/>
                  </a:lnTo>
                  <a:cubicBezTo>
                    <a:pt x="103122" y="236878"/>
                    <a:pt x="103122" y="237057"/>
                    <a:pt x="103180" y="237220"/>
                  </a:cubicBezTo>
                  <a:lnTo>
                    <a:pt x="108246" y="243148"/>
                  </a:lnTo>
                  <a:cubicBezTo>
                    <a:pt x="108505" y="243442"/>
                    <a:pt x="108954" y="243470"/>
                    <a:pt x="109247" y="243211"/>
                  </a:cubicBezTo>
                  <a:cubicBezTo>
                    <a:pt x="109270" y="243191"/>
                    <a:pt x="109290" y="243170"/>
                    <a:pt x="109310" y="243148"/>
                  </a:cubicBezTo>
                  <a:lnTo>
                    <a:pt x="114377" y="237220"/>
                  </a:lnTo>
                  <a:cubicBezTo>
                    <a:pt x="114435" y="237057"/>
                    <a:pt x="114435" y="236878"/>
                    <a:pt x="114377" y="236714"/>
                  </a:cubicBezTo>
                  <a:lnTo>
                    <a:pt x="112046" y="202211"/>
                  </a:lnTo>
                  <a:lnTo>
                    <a:pt x="116454" y="237068"/>
                  </a:lnTo>
                  <a:cubicBezTo>
                    <a:pt x="116472" y="237249"/>
                    <a:pt x="116564" y="237414"/>
                    <a:pt x="116707" y="237524"/>
                  </a:cubicBezTo>
                  <a:lnTo>
                    <a:pt x="122534" y="242591"/>
                  </a:lnTo>
                  <a:cubicBezTo>
                    <a:pt x="122766" y="242871"/>
                    <a:pt x="123181" y="242909"/>
                    <a:pt x="123461" y="242677"/>
                  </a:cubicBezTo>
                  <a:cubicBezTo>
                    <a:pt x="123492" y="242651"/>
                    <a:pt x="123521" y="242622"/>
                    <a:pt x="123547" y="242591"/>
                  </a:cubicBezTo>
                  <a:lnTo>
                    <a:pt x="127093" y="236815"/>
                  </a:lnTo>
                  <a:lnTo>
                    <a:pt x="128867" y="245124"/>
                  </a:lnTo>
                  <a:lnTo>
                    <a:pt x="125371" y="245124"/>
                  </a:lnTo>
                  <a:cubicBezTo>
                    <a:pt x="123768" y="245025"/>
                    <a:pt x="122161" y="245025"/>
                    <a:pt x="120558" y="245124"/>
                  </a:cubicBezTo>
                  <a:cubicBezTo>
                    <a:pt x="118909" y="245216"/>
                    <a:pt x="117378" y="246009"/>
                    <a:pt x="116353" y="247303"/>
                  </a:cubicBezTo>
                  <a:close/>
                  <a:moveTo>
                    <a:pt x="105662" y="254446"/>
                  </a:moveTo>
                  <a:cubicBezTo>
                    <a:pt x="105408" y="256325"/>
                    <a:pt x="104914" y="258164"/>
                    <a:pt x="104193" y="259918"/>
                  </a:cubicBezTo>
                  <a:cubicBezTo>
                    <a:pt x="103770" y="259038"/>
                    <a:pt x="103101" y="258299"/>
                    <a:pt x="102268" y="257790"/>
                  </a:cubicBezTo>
                  <a:lnTo>
                    <a:pt x="101001" y="257030"/>
                  </a:lnTo>
                  <a:cubicBezTo>
                    <a:pt x="99785" y="256321"/>
                    <a:pt x="98721" y="255662"/>
                    <a:pt x="98367" y="254497"/>
                  </a:cubicBezTo>
                  <a:cubicBezTo>
                    <a:pt x="98343" y="254329"/>
                    <a:pt x="98343" y="254158"/>
                    <a:pt x="98367" y="253990"/>
                  </a:cubicBezTo>
                  <a:cubicBezTo>
                    <a:pt x="98865" y="253611"/>
                    <a:pt x="99293" y="253148"/>
                    <a:pt x="99633" y="252622"/>
                  </a:cubicBezTo>
                  <a:lnTo>
                    <a:pt x="100191" y="251761"/>
                  </a:lnTo>
                  <a:lnTo>
                    <a:pt x="100191" y="251761"/>
                  </a:lnTo>
                  <a:cubicBezTo>
                    <a:pt x="100415" y="251287"/>
                    <a:pt x="100724" y="250858"/>
                    <a:pt x="101103" y="250494"/>
                  </a:cubicBezTo>
                  <a:cubicBezTo>
                    <a:pt x="101632" y="249923"/>
                    <a:pt x="101842" y="249124"/>
                    <a:pt x="101660" y="248367"/>
                  </a:cubicBezTo>
                  <a:cubicBezTo>
                    <a:pt x="102967" y="248310"/>
                    <a:pt x="104225" y="248873"/>
                    <a:pt x="105054" y="249887"/>
                  </a:cubicBezTo>
                  <a:cubicBezTo>
                    <a:pt x="105416" y="250438"/>
                    <a:pt x="105657" y="251059"/>
                    <a:pt x="105764" y="251710"/>
                  </a:cubicBezTo>
                  <a:cubicBezTo>
                    <a:pt x="105879" y="252723"/>
                    <a:pt x="105844" y="253747"/>
                    <a:pt x="105662" y="254750"/>
                  </a:cubicBezTo>
                  <a:close/>
                  <a:moveTo>
                    <a:pt x="76125" y="235042"/>
                  </a:moveTo>
                  <a:cubicBezTo>
                    <a:pt x="76011" y="234798"/>
                    <a:pt x="75783" y="234628"/>
                    <a:pt x="75517" y="234586"/>
                  </a:cubicBezTo>
                  <a:cubicBezTo>
                    <a:pt x="75241" y="234538"/>
                    <a:pt x="74964" y="234658"/>
                    <a:pt x="74808" y="234890"/>
                  </a:cubicBezTo>
                  <a:lnTo>
                    <a:pt x="68424" y="243655"/>
                  </a:lnTo>
                  <a:lnTo>
                    <a:pt x="64067" y="228962"/>
                  </a:lnTo>
                  <a:lnTo>
                    <a:pt x="71920" y="217360"/>
                  </a:lnTo>
                  <a:cubicBezTo>
                    <a:pt x="73642" y="222426"/>
                    <a:pt x="76024" y="229165"/>
                    <a:pt x="76176" y="229925"/>
                  </a:cubicBezTo>
                  <a:cubicBezTo>
                    <a:pt x="76207" y="230239"/>
                    <a:pt x="76429" y="230501"/>
                    <a:pt x="76733" y="230583"/>
                  </a:cubicBezTo>
                  <a:cubicBezTo>
                    <a:pt x="77442" y="230583"/>
                    <a:pt x="77493" y="230583"/>
                    <a:pt x="86258" y="218171"/>
                  </a:cubicBezTo>
                  <a:lnTo>
                    <a:pt x="89247" y="233370"/>
                  </a:lnTo>
                  <a:lnTo>
                    <a:pt x="86815" y="244820"/>
                  </a:lnTo>
                  <a:cubicBezTo>
                    <a:pt x="84738" y="244820"/>
                    <a:pt x="82407" y="244820"/>
                    <a:pt x="79874" y="244820"/>
                  </a:cubicBezTo>
                  <a:close/>
                  <a:moveTo>
                    <a:pt x="78202" y="244668"/>
                  </a:moveTo>
                  <a:cubicBezTo>
                    <a:pt x="75669" y="244668"/>
                    <a:pt x="73136" y="244415"/>
                    <a:pt x="69995" y="244111"/>
                  </a:cubicBezTo>
                  <a:lnTo>
                    <a:pt x="75061" y="236916"/>
                  </a:lnTo>
                  <a:close/>
                  <a:moveTo>
                    <a:pt x="66853" y="243705"/>
                  </a:moveTo>
                  <a:cubicBezTo>
                    <a:pt x="63256" y="243199"/>
                    <a:pt x="59507" y="242540"/>
                    <a:pt x="55555" y="241578"/>
                  </a:cubicBezTo>
                  <a:lnTo>
                    <a:pt x="62952" y="230583"/>
                  </a:lnTo>
                  <a:close/>
                  <a:moveTo>
                    <a:pt x="87423" y="216397"/>
                  </a:moveTo>
                  <a:lnTo>
                    <a:pt x="87423" y="216397"/>
                  </a:lnTo>
                  <a:lnTo>
                    <a:pt x="95073" y="205302"/>
                  </a:lnTo>
                  <a:lnTo>
                    <a:pt x="90007" y="229773"/>
                  </a:lnTo>
                  <a:close/>
                  <a:moveTo>
                    <a:pt x="89652" y="170799"/>
                  </a:moveTo>
                  <a:cubicBezTo>
                    <a:pt x="91122" y="172471"/>
                    <a:pt x="92591" y="174143"/>
                    <a:pt x="94111" y="175866"/>
                  </a:cubicBezTo>
                  <a:lnTo>
                    <a:pt x="83978" y="188481"/>
                  </a:lnTo>
                  <a:lnTo>
                    <a:pt x="82813" y="177284"/>
                  </a:lnTo>
                  <a:close/>
                  <a:moveTo>
                    <a:pt x="95175" y="176828"/>
                  </a:moveTo>
                  <a:cubicBezTo>
                    <a:pt x="96796" y="178500"/>
                    <a:pt x="98519" y="180122"/>
                    <a:pt x="100241" y="181895"/>
                  </a:cubicBezTo>
                  <a:lnTo>
                    <a:pt x="100241" y="181895"/>
                  </a:lnTo>
                  <a:lnTo>
                    <a:pt x="96644" y="198817"/>
                  </a:lnTo>
                  <a:lnTo>
                    <a:pt x="91172" y="181844"/>
                  </a:lnTo>
                  <a:close/>
                  <a:moveTo>
                    <a:pt x="134744" y="177132"/>
                  </a:moveTo>
                  <a:lnTo>
                    <a:pt x="133578" y="188329"/>
                  </a:lnTo>
                  <a:lnTo>
                    <a:pt x="123446" y="175764"/>
                  </a:lnTo>
                  <a:cubicBezTo>
                    <a:pt x="124965" y="174143"/>
                    <a:pt x="126485" y="172471"/>
                    <a:pt x="127904" y="170698"/>
                  </a:cubicBezTo>
                  <a:close/>
                  <a:moveTo>
                    <a:pt x="122179" y="176980"/>
                  </a:moveTo>
                  <a:lnTo>
                    <a:pt x="126181" y="182047"/>
                  </a:lnTo>
                  <a:lnTo>
                    <a:pt x="120710" y="199019"/>
                  </a:lnTo>
                  <a:lnTo>
                    <a:pt x="117112" y="181895"/>
                  </a:lnTo>
                  <a:cubicBezTo>
                    <a:pt x="118835" y="180274"/>
                    <a:pt x="120558" y="178652"/>
                    <a:pt x="122179" y="176980"/>
                  </a:cubicBezTo>
                  <a:close/>
                  <a:moveTo>
                    <a:pt x="122179" y="205352"/>
                  </a:moveTo>
                  <a:cubicBezTo>
                    <a:pt x="124104" y="208088"/>
                    <a:pt x="126941" y="212293"/>
                    <a:pt x="129829" y="216448"/>
                  </a:cubicBezTo>
                  <a:lnTo>
                    <a:pt x="129829" y="216448"/>
                  </a:lnTo>
                  <a:lnTo>
                    <a:pt x="127195" y="229570"/>
                  </a:lnTo>
                  <a:close/>
                  <a:moveTo>
                    <a:pt x="130437" y="214624"/>
                  </a:moveTo>
                  <a:cubicBezTo>
                    <a:pt x="127397" y="210267"/>
                    <a:pt x="124205" y="205606"/>
                    <a:pt x="121520" y="201654"/>
                  </a:cubicBezTo>
                  <a:lnTo>
                    <a:pt x="127245" y="183263"/>
                  </a:lnTo>
                  <a:lnTo>
                    <a:pt x="133528" y="190862"/>
                  </a:lnTo>
                  <a:cubicBezTo>
                    <a:pt x="133783" y="190989"/>
                    <a:pt x="134083" y="190989"/>
                    <a:pt x="134338" y="190862"/>
                  </a:cubicBezTo>
                  <a:cubicBezTo>
                    <a:pt x="134623" y="190763"/>
                    <a:pt x="134822" y="190504"/>
                    <a:pt x="134845" y="190204"/>
                  </a:cubicBezTo>
                  <a:lnTo>
                    <a:pt x="136112" y="178298"/>
                  </a:lnTo>
                  <a:lnTo>
                    <a:pt x="152223" y="192737"/>
                  </a:lnTo>
                  <a:lnTo>
                    <a:pt x="154097" y="194460"/>
                  </a:lnTo>
                  <a:lnTo>
                    <a:pt x="155972" y="196132"/>
                  </a:lnTo>
                  <a:lnTo>
                    <a:pt x="156631" y="196740"/>
                  </a:lnTo>
                  <a:lnTo>
                    <a:pt x="157492" y="197499"/>
                  </a:lnTo>
                  <a:lnTo>
                    <a:pt x="159265" y="203731"/>
                  </a:lnTo>
                  <a:lnTo>
                    <a:pt x="148828" y="193598"/>
                  </a:lnTo>
                  <a:cubicBezTo>
                    <a:pt x="148622" y="193490"/>
                    <a:pt x="148376" y="193490"/>
                    <a:pt x="148170" y="193598"/>
                  </a:cubicBezTo>
                  <a:cubicBezTo>
                    <a:pt x="147920" y="193679"/>
                    <a:pt x="147717" y="193864"/>
                    <a:pt x="147613" y="194105"/>
                  </a:cubicBezTo>
                  <a:lnTo>
                    <a:pt x="143154" y="205656"/>
                  </a:lnTo>
                  <a:lnTo>
                    <a:pt x="135453" y="195220"/>
                  </a:lnTo>
                  <a:cubicBezTo>
                    <a:pt x="135257" y="194980"/>
                    <a:pt x="134948" y="194864"/>
                    <a:pt x="134642" y="194916"/>
                  </a:cubicBezTo>
                  <a:cubicBezTo>
                    <a:pt x="134346" y="194978"/>
                    <a:pt x="134122" y="195223"/>
                    <a:pt x="134085" y="195524"/>
                  </a:cubicBezTo>
                  <a:close/>
                  <a:moveTo>
                    <a:pt x="153236" y="93992"/>
                  </a:moveTo>
                  <a:lnTo>
                    <a:pt x="153641" y="103466"/>
                  </a:lnTo>
                  <a:cubicBezTo>
                    <a:pt x="153145" y="110596"/>
                    <a:pt x="152009" y="117667"/>
                    <a:pt x="150247" y="124593"/>
                  </a:cubicBezTo>
                  <a:cubicBezTo>
                    <a:pt x="146034" y="141413"/>
                    <a:pt x="137969" y="157023"/>
                    <a:pt x="126688" y="170191"/>
                  </a:cubicBezTo>
                  <a:cubicBezTo>
                    <a:pt x="123364" y="174049"/>
                    <a:pt x="119811" y="177703"/>
                    <a:pt x="116048" y="181135"/>
                  </a:cubicBezTo>
                  <a:lnTo>
                    <a:pt x="116049" y="181135"/>
                  </a:lnTo>
                  <a:lnTo>
                    <a:pt x="115187" y="181895"/>
                  </a:lnTo>
                  <a:lnTo>
                    <a:pt x="114326" y="182655"/>
                  </a:lnTo>
                  <a:cubicBezTo>
                    <a:pt x="113860" y="183104"/>
                    <a:pt x="113369" y="183527"/>
                    <a:pt x="112857" y="183921"/>
                  </a:cubicBezTo>
                  <a:cubicBezTo>
                    <a:pt x="111539" y="185087"/>
                    <a:pt x="110171" y="186151"/>
                    <a:pt x="108854" y="187215"/>
                  </a:cubicBezTo>
                  <a:cubicBezTo>
                    <a:pt x="107486" y="186151"/>
                    <a:pt x="106118" y="185087"/>
                    <a:pt x="104852" y="183921"/>
                  </a:cubicBezTo>
                  <a:lnTo>
                    <a:pt x="103332" y="182655"/>
                  </a:lnTo>
                  <a:lnTo>
                    <a:pt x="102470" y="181895"/>
                  </a:lnTo>
                  <a:lnTo>
                    <a:pt x="101609" y="181135"/>
                  </a:lnTo>
                  <a:cubicBezTo>
                    <a:pt x="101609" y="181135"/>
                    <a:pt x="101609" y="181135"/>
                    <a:pt x="101609" y="181135"/>
                  </a:cubicBezTo>
                  <a:lnTo>
                    <a:pt x="101609" y="181135"/>
                  </a:lnTo>
                  <a:cubicBezTo>
                    <a:pt x="97863" y="177703"/>
                    <a:pt x="94327" y="174048"/>
                    <a:pt x="91020" y="170191"/>
                  </a:cubicBezTo>
                  <a:cubicBezTo>
                    <a:pt x="79702" y="157049"/>
                    <a:pt x="71632" y="141429"/>
                    <a:pt x="67461" y="124593"/>
                  </a:cubicBezTo>
                  <a:cubicBezTo>
                    <a:pt x="65683" y="117668"/>
                    <a:pt x="64530" y="110598"/>
                    <a:pt x="64016" y="103466"/>
                  </a:cubicBezTo>
                  <a:lnTo>
                    <a:pt x="64422" y="93992"/>
                  </a:lnTo>
                  <a:cubicBezTo>
                    <a:pt x="89754" y="93080"/>
                    <a:pt x="103484" y="84873"/>
                    <a:pt x="107841" y="81731"/>
                  </a:cubicBezTo>
                  <a:lnTo>
                    <a:pt x="108905" y="80971"/>
                  </a:lnTo>
                  <a:lnTo>
                    <a:pt x="109918" y="81731"/>
                  </a:lnTo>
                  <a:cubicBezTo>
                    <a:pt x="114073" y="84873"/>
                    <a:pt x="127803" y="93080"/>
                    <a:pt x="153135" y="93992"/>
                  </a:cubicBezTo>
                  <a:close/>
                  <a:moveTo>
                    <a:pt x="60774" y="196993"/>
                  </a:moveTo>
                  <a:lnTo>
                    <a:pt x="61382" y="196638"/>
                  </a:lnTo>
                  <a:lnTo>
                    <a:pt x="63256" y="194966"/>
                  </a:lnTo>
                  <a:lnTo>
                    <a:pt x="65181" y="193244"/>
                  </a:lnTo>
                  <a:lnTo>
                    <a:pt x="81293" y="178804"/>
                  </a:lnTo>
                  <a:lnTo>
                    <a:pt x="82509" y="190710"/>
                  </a:lnTo>
                  <a:cubicBezTo>
                    <a:pt x="82532" y="191011"/>
                    <a:pt x="82731" y="191270"/>
                    <a:pt x="83015" y="191369"/>
                  </a:cubicBezTo>
                  <a:cubicBezTo>
                    <a:pt x="83271" y="191496"/>
                    <a:pt x="83571" y="191496"/>
                    <a:pt x="83826" y="191369"/>
                  </a:cubicBezTo>
                  <a:lnTo>
                    <a:pt x="90108" y="183769"/>
                  </a:lnTo>
                  <a:lnTo>
                    <a:pt x="96036" y="202161"/>
                  </a:lnTo>
                  <a:lnTo>
                    <a:pt x="87069" y="215131"/>
                  </a:lnTo>
                  <a:lnTo>
                    <a:pt x="83269" y="196030"/>
                  </a:lnTo>
                  <a:cubicBezTo>
                    <a:pt x="83232" y="195729"/>
                    <a:pt x="83008" y="195485"/>
                    <a:pt x="82711" y="195422"/>
                  </a:cubicBezTo>
                  <a:cubicBezTo>
                    <a:pt x="82406" y="195371"/>
                    <a:pt x="82097" y="195487"/>
                    <a:pt x="81901" y="195726"/>
                  </a:cubicBezTo>
                  <a:lnTo>
                    <a:pt x="74200" y="206163"/>
                  </a:lnTo>
                  <a:lnTo>
                    <a:pt x="69741" y="194612"/>
                  </a:lnTo>
                  <a:cubicBezTo>
                    <a:pt x="69741" y="194612"/>
                    <a:pt x="69437" y="194206"/>
                    <a:pt x="69235" y="194105"/>
                  </a:cubicBezTo>
                  <a:cubicBezTo>
                    <a:pt x="69013" y="193988"/>
                    <a:pt x="68747" y="193988"/>
                    <a:pt x="68525" y="194105"/>
                  </a:cubicBezTo>
                  <a:lnTo>
                    <a:pt x="58088" y="204238"/>
                  </a:lnTo>
                  <a:lnTo>
                    <a:pt x="59862" y="198006"/>
                  </a:lnTo>
                  <a:close/>
                  <a:moveTo>
                    <a:pt x="56670" y="209254"/>
                  </a:moveTo>
                  <a:lnTo>
                    <a:pt x="62496" y="229013"/>
                  </a:lnTo>
                  <a:lnTo>
                    <a:pt x="54086" y="241476"/>
                  </a:lnTo>
                  <a:cubicBezTo>
                    <a:pt x="52110" y="240970"/>
                    <a:pt x="50134" y="240362"/>
                    <a:pt x="48108" y="239754"/>
                  </a:cubicBezTo>
                  <a:close/>
                  <a:moveTo>
                    <a:pt x="37316" y="239348"/>
                  </a:moveTo>
                  <a:lnTo>
                    <a:pt x="37316" y="239348"/>
                  </a:lnTo>
                  <a:cubicBezTo>
                    <a:pt x="37316" y="239348"/>
                    <a:pt x="37316" y="239348"/>
                    <a:pt x="37316" y="239348"/>
                  </a:cubicBezTo>
                  <a:cubicBezTo>
                    <a:pt x="38111" y="238772"/>
                    <a:pt x="39150" y="238657"/>
                    <a:pt x="40052" y="239044"/>
                  </a:cubicBezTo>
                  <a:lnTo>
                    <a:pt x="45777" y="241172"/>
                  </a:lnTo>
                  <a:cubicBezTo>
                    <a:pt x="52557" y="243525"/>
                    <a:pt x="59547" y="245221"/>
                    <a:pt x="66651" y="246239"/>
                  </a:cubicBezTo>
                  <a:cubicBezTo>
                    <a:pt x="69640" y="246644"/>
                    <a:pt x="72477" y="246897"/>
                    <a:pt x="75112" y="247049"/>
                  </a:cubicBezTo>
                  <a:lnTo>
                    <a:pt x="78456" y="247049"/>
                  </a:lnTo>
                  <a:lnTo>
                    <a:pt x="80077" y="247049"/>
                  </a:lnTo>
                  <a:cubicBezTo>
                    <a:pt x="82306" y="247049"/>
                    <a:pt x="84333" y="247049"/>
                    <a:pt x="86157" y="247049"/>
                  </a:cubicBezTo>
                  <a:lnTo>
                    <a:pt x="87727" y="247049"/>
                  </a:lnTo>
                  <a:lnTo>
                    <a:pt x="91628" y="247049"/>
                  </a:lnTo>
                  <a:cubicBezTo>
                    <a:pt x="93130" y="246950"/>
                    <a:pt x="94636" y="246950"/>
                    <a:pt x="96137" y="247049"/>
                  </a:cubicBezTo>
                  <a:cubicBezTo>
                    <a:pt x="97549" y="247071"/>
                    <a:pt x="98851" y="247818"/>
                    <a:pt x="99583" y="249025"/>
                  </a:cubicBezTo>
                  <a:cubicBezTo>
                    <a:pt x="99817" y="249469"/>
                    <a:pt x="99817" y="250000"/>
                    <a:pt x="99583" y="250444"/>
                  </a:cubicBezTo>
                  <a:cubicBezTo>
                    <a:pt x="99099" y="250920"/>
                    <a:pt x="98689" y="251467"/>
                    <a:pt x="98367" y="252065"/>
                  </a:cubicBezTo>
                  <a:lnTo>
                    <a:pt x="97911" y="252774"/>
                  </a:lnTo>
                  <a:lnTo>
                    <a:pt x="97911" y="252774"/>
                  </a:lnTo>
                  <a:cubicBezTo>
                    <a:pt x="97585" y="253252"/>
                    <a:pt x="97173" y="253665"/>
                    <a:pt x="96695" y="253990"/>
                  </a:cubicBezTo>
                  <a:cubicBezTo>
                    <a:pt x="96022" y="254415"/>
                    <a:pt x="95258" y="254676"/>
                    <a:pt x="94465" y="254750"/>
                  </a:cubicBezTo>
                  <a:cubicBezTo>
                    <a:pt x="90129" y="255008"/>
                    <a:pt x="85781" y="255008"/>
                    <a:pt x="81445" y="254750"/>
                  </a:cubicBezTo>
                  <a:cubicBezTo>
                    <a:pt x="78050" y="254750"/>
                    <a:pt x="74504" y="254396"/>
                    <a:pt x="70856" y="253990"/>
                  </a:cubicBezTo>
                  <a:cubicBezTo>
                    <a:pt x="70856" y="253990"/>
                    <a:pt x="70856" y="253990"/>
                    <a:pt x="70856" y="253990"/>
                  </a:cubicBezTo>
                  <a:cubicBezTo>
                    <a:pt x="71023" y="253069"/>
                    <a:pt x="71023" y="252125"/>
                    <a:pt x="70856" y="251204"/>
                  </a:cubicBezTo>
                  <a:cubicBezTo>
                    <a:pt x="70553" y="249582"/>
                    <a:pt x="69625" y="248144"/>
                    <a:pt x="68272" y="247201"/>
                  </a:cubicBezTo>
                  <a:lnTo>
                    <a:pt x="67867" y="247201"/>
                  </a:lnTo>
                  <a:cubicBezTo>
                    <a:pt x="67429" y="246900"/>
                    <a:pt x="66925" y="246708"/>
                    <a:pt x="66397" y="246644"/>
                  </a:cubicBezTo>
                  <a:lnTo>
                    <a:pt x="66448" y="246644"/>
                  </a:lnTo>
                  <a:cubicBezTo>
                    <a:pt x="66095" y="246595"/>
                    <a:pt x="65737" y="246595"/>
                    <a:pt x="65384" y="246644"/>
                  </a:cubicBezTo>
                  <a:lnTo>
                    <a:pt x="65384" y="246644"/>
                  </a:lnTo>
                  <a:cubicBezTo>
                    <a:pt x="63735" y="247119"/>
                    <a:pt x="62438" y="248397"/>
                    <a:pt x="61939" y="250038"/>
                  </a:cubicBezTo>
                  <a:cubicBezTo>
                    <a:pt x="61939" y="250038"/>
                    <a:pt x="61939" y="250494"/>
                    <a:pt x="61939" y="250748"/>
                  </a:cubicBezTo>
                  <a:cubicBezTo>
                    <a:pt x="61869" y="251422"/>
                    <a:pt x="61869" y="252101"/>
                    <a:pt x="61939" y="252774"/>
                  </a:cubicBezTo>
                  <a:lnTo>
                    <a:pt x="61939" y="252774"/>
                  </a:lnTo>
                  <a:cubicBezTo>
                    <a:pt x="58848" y="252268"/>
                    <a:pt x="55910" y="251710"/>
                    <a:pt x="53275" y="251153"/>
                  </a:cubicBezTo>
                  <a:cubicBezTo>
                    <a:pt x="48125" y="250141"/>
                    <a:pt x="43047" y="248787"/>
                    <a:pt x="38076" y="247100"/>
                  </a:cubicBezTo>
                  <a:lnTo>
                    <a:pt x="38076" y="246695"/>
                  </a:lnTo>
                  <a:lnTo>
                    <a:pt x="38076" y="246695"/>
                  </a:lnTo>
                  <a:cubicBezTo>
                    <a:pt x="38076" y="246188"/>
                    <a:pt x="37772" y="245529"/>
                    <a:pt x="37620" y="244769"/>
                  </a:cubicBezTo>
                  <a:cubicBezTo>
                    <a:pt x="37543" y="243690"/>
                    <a:pt x="37543" y="242606"/>
                    <a:pt x="37620" y="241527"/>
                  </a:cubicBezTo>
                  <a:cubicBezTo>
                    <a:pt x="37052" y="240952"/>
                    <a:pt x="36892" y="240089"/>
                    <a:pt x="37215" y="239348"/>
                  </a:cubicBezTo>
                  <a:close/>
                  <a:moveTo>
                    <a:pt x="63256" y="250342"/>
                  </a:moveTo>
                  <a:cubicBezTo>
                    <a:pt x="63233" y="250090"/>
                    <a:pt x="63233" y="249835"/>
                    <a:pt x="63256" y="249582"/>
                  </a:cubicBezTo>
                  <a:cubicBezTo>
                    <a:pt x="63672" y="248499"/>
                    <a:pt x="64573" y="247674"/>
                    <a:pt x="65688" y="247353"/>
                  </a:cubicBezTo>
                  <a:lnTo>
                    <a:pt x="66347" y="247353"/>
                  </a:lnTo>
                  <a:cubicBezTo>
                    <a:pt x="66779" y="247345"/>
                    <a:pt x="67203" y="247469"/>
                    <a:pt x="67563" y="247708"/>
                  </a:cubicBezTo>
                  <a:cubicBezTo>
                    <a:pt x="68629" y="248348"/>
                    <a:pt x="69422" y="249358"/>
                    <a:pt x="69792" y="250545"/>
                  </a:cubicBezTo>
                  <a:cubicBezTo>
                    <a:pt x="70040" y="251457"/>
                    <a:pt x="70040" y="252419"/>
                    <a:pt x="69792" y="253332"/>
                  </a:cubicBezTo>
                  <a:cubicBezTo>
                    <a:pt x="69559" y="254077"/>
                    <a:pt x="69235" y="254792"/>
                    <a:pt x="68829" y="255460"/>
                  </a:cubicBezTo>
                  <a:lnTo>
                    <a:pt x="68829" y="255460"/>
                  </a:lnTo>
                  <a:cubicBezTo>
                    <a:pt x="68594" y="255793"/>
                    <a:pt x="68322" y="256099"/>
                    <a:pt x="68019" y="256372"/>
                  </a:cubicBezTo>
                  <a:cubicBezTo>
                    <a:pt x="67309" y="257076"/>
                    <a:pt x="66680" y="257858"/>
                    <a:pt x="66144" y="258702"/>
                  </a:cubicBezTo>
                  <a:cubicBezTo>
                    <a:pt x="65840" y="258195"/>
                    <a:pt x="65485" y="257689"/>
                    <a:pt x="65131" y="257182"/>
                  </a:cubicBezTo>
                  <a:cubicBezTo>
                    <a:pt x="63944" y="255741"/>
                    <a:pt x="63220" y="253975"/>
                    <a:pt x="63054" y="252116"/>
                  </a:cubicBezTo>
                  <a:cubicBezTo>
                    <a:pt x="63011" y="251523"/>
                    <a:pt x="63045" y="250927"/>
                    <a:pt x="63155" y="250342"/>
                  </a:cubicBezTo>
                  <a:close/>
                  <a:moveTo>
                    <a:pt x="29260" y="243807"/>
                  </a:moveTo>
                  <a:cubicBezTo>
                    <a:pt x="30714" y="241794"/>
                    <a:pt x="32831" y="240358"/>
                    <a:pt x="35239" y="239754"/>
                  </a:cubicBezTo>
                  <a:cubicBezTo>
                    <a:pt x="35196" y="240090"/>
                    <a:pt x="35196" y="240430"/>
                    <a:pt x="35239" y="240767"/>
                  </a:cubicBezTo>
                  <a:cubicBezTo>
                    <a:pt x="35192" y="241695"/>
                    <a:pt x="35192" y="242625"/>
                    <a:pt x="35239" y="243553"/>
                  </a:cubicBezTo>
                  <a:cubicBezTo>
                    <a:pt x="35239" y="244364"/>
                    <a:pt x="35492" y="245225"/>
                    <a:pt x="35644" y="245884"/>
                  </a:cubicBezTo>
                  <a:lnTo>
                    <a:pt x="34631" y="246239"/>
                  </a:lnTo>
                  <a:lnTo>
                    <a:pt x="32199" y="247252"/>
                  </a:lnTo>
                  <a:cubicBezTo>
                    <a:pt x="30931" y="247835"/>
                    <a:pt x="29767" y="248623"/>
                    <a:pt x="28754" y="249582"/>
                  </a:cubicBezTo>
                  <a:cubicBezTo>
                    <a:pt x="28545" y="248891"/>
                    <a:pt x="28426" y="248176"/>
                    <a:pt x="28399" y="247455"/>
                  </a:cubicBezTo>
                  <a:cubicBezTo>
                    <a:pt x="28304" y="246191"/>
                    <a:pt x="28568" y="244927"/>
                    <a:pt x="29159" y="243807"/>
                  </a:cubicBezTo>
                  <a:close/>
                  <a:moveTo>
                    <a:pt x="197568" y="262502"/>
                  </a:moveTo>
                  <a:lnTo>
                    <a:pt x="197872" y="262907"/>
                  </a:lnTo>
                  <a:cubicBezTo>
                    <a:pt x="197872" y="265136"/>
                    <a:pt x="196605" y="270254"/>
                    <a:pt x="193920" y="271368"/>
                  </a:cubicBezTo>
                  <a:cubicBezTo>
                    <a:pt x="193605" y="271485"/>
                    <a:pt x="193350" y="271722"/>
                    <a:pt x="193210" y="272027"/>
                  </a:cubicBezTo>
                  <a:cubicBezTo>
                    <a:pt x="192745" y="273032"/>
                    <a:pt x="192471" y="274114"/>
                    <a:pt x="192400" y="275219"/>
                  </a:cubicBezTo>
                  <a:cubicBezTo>
                    <a:pt x="192554" y="277810"/>
                    <a:pt x="191019" y="280205"/>
                    <a:pt x="188600" y="281146"/>
                  </a:cubicBezTo>
                  <a:cubicBezTo>
                    <a:pt x="164835" y="286595"/>
                    <a:pt x="140531" y="289348"/>
                    <a:pt x="116150" y="289354"/>
                  </a:cubicBezTo>
                  <a:lnTo>
                    <a:pt x="101204" y="289354"/>
                  </a:lnTo>
                  <a:cubicBezTo>
                    <a:pt x="76839" y="289353"/>
                    <a:pt x="52551" y="286600"/>
                    <a:pt x="28804" y="281146"/>
                  </a:cubicBezTo>
                  <a:cubicBezTo>
                    <a:pt x="25613" y="279880"/>
                    <a:pt x="25309" y="277600"/>
                    <a:pt x="24954" y="275219"/>
                  </a:cubicBezTo>
                  <a:cubicBezTo>
                    <a:pt x="24883" y="274114"/>
                    <a:pt x="24608" y="273032"/>
                    <a:pt x="24143" y="272027"/>
                  </a:cubicBezTo>
                  <a:cubicBezTo>
                    <a:pt x="24034" y="271701"/>
                    <a:pt x="23767" y="271453"/>
                    <a:pt x="23434" y="271368"/>
                  </a:cubicBezTo>
                  <a:cubicBezTo>
                    <a:pt x="20749" y="270254"/>
                    <a:pt x="19735" y="265136"/>
                    <a:pt x="19482" y="262907"/>
                  </a:cubicBezTo>
                  <a:cubicBezTo>
                    <a:pt x="19624" y="262808"/>
                    <a:pt x="19731" y="262666"/>
                    <a:pt x="19786" y="262502"/>
                  </a:cubicBezTo>
                  <a:cubicBezTo>
                    <a:pt x="23434" y="255206"/>
                    <a:pt x="27284" y="255662"/>
                    <a:pt x="27284" y="255662"/>
                  </a:cubicBezTo>
                  <a:cubicBezTo>
                    <a:pt x="27623" y="255812"/>
                    <a:pt x="28010" y="255812"/>
                    <a:pt x="28348" y="255662"/>
                  </a:cubicBezTo>
                  <a:cubicBezTo>
                    <a:pt x="28653" y="255427"/>
                    <a:pt x="28853" y="255081"/>
                    <a:pt x="28906" y="254700"/>
                  </a:cubicBezTo>
                  <a:cubicBezTo>
                    <a:pt x="29068" y="253294"/>
                    <a:pt x="29409" y="251915"/>
                    <a:pt x="29919" y="250596"/>
                  </a:cubicBezTo>
                  <a:cubicBezTo>
                    <a:pt x="31698" y="249065"/>
                    <a:pt x="33790" y="247941"/>
                    <a:pt x="36049" y="247303"/>
                  </a:cubicBezTo>
                  <a:cubicBezTo>
                    <a:pt x="36026" y="247420"/>
                    <a:pt x="36026" y="247540"/>
                    <a:pt x="36049" y="247657"/>
                  </a:cubicBezTo>
                  <a:cubicBezTo>
                    <a:pt x="44250" y="250602"/>
                    <a:pt x="52742" y="252658"/>
                    <a:pt x="61382" y="253788"/>
                  </a:cubicBezTo>
                  <a:cubicBezTo>
                    <a:pt x="61826" y="255334"/>
                    <a:pt x="62566" y="256779"/>
                    <a:pt x="63560" y="258043"/>
                  </a:cubicBezTo>
                  <a:cubicBezTo>
                    <a:pt x="64320" y="259209"/>
                    <a:pt x="64979" y="260121"/>
                    <a:pt x="64827" y="260982"/>
                  </a:cubicBezTo>
                  <a:cubicBezTo>
                    <a:pt x="64815" y="261389"/>
                    <a:pt x="65090" y="261748"/>
                    <a:pt x="65485" y="261843"/>
                  </a:cubicBezTo>
                  <a:lnTo>
                    <a:pt x="65485" y="261843"/>
                  </a:lnTo>
                  <a:cubicBezTo>
                    <a:pt x="65841" y="261847"/>
                    <a:pt x="66144" y="261587"/>
                    <a:pt x="66195" y="261235"/>
                  </a:cubicBezTo>
                  <a:cubicBezTo>
                    <a:pt x="66637" y="259768"/>
                    <a:pt x="67479" y="258452"/>
                    <a:pt x="68627" y="257435"/>
                  </a:cubicBezTo>
                  <a:cubicBezTo>
                    <a:pt x="69013" y="257059"/>
                    <a:pt x="69369" y="256653"/>
                    <a:pt x="69691" y="256220"/>
                  </a:cubicBezTo>
                  <a:lnTo>
                    <a:pt x="69691" y="256220"/>
                  </a:lnTo>
                  <a:cubicBezTo>
                    <a:pt x="69913" y="255859"/>
                    <a:pt x="70116" y="255487"/>
                    <a:pt x="70299" y="255105"/>
                  </a:cubicBezTo>
                  <a:cubicBezTo>
                    <a:pt x="75513" y="255696"/>
                    <a:pt x="80756" y="256000"/>
                    <a:pt x="86004" y="256017"/>
                  </a:cubicBezTo>
                  <a:cubicBezTo>
                    <a:pt x="88994" y="256017"/>
                    <a:pt x="91831" y="256017"/>
                    <a:pt x="94567" y="255713"/>
                  </a:cubicBezTo>
                  <a:cubicBezTo>
                    <a:pt x="95215" y="255646"/>
                    <a:pt x="95848" y="255475"/>
                    <a:pt x="96441" y="255206"/>
                  </a:cubicBezTo>
                  <a:cubicBezTo>
                    <a:pt x="97050" y="256797"/>
                    <a:pt x="98274" y="258075"/>
                    <a:pt x="99836" y="258753"/>
                  </a:cubicBezTo>
                  <a:lnTo>
                    <a:pt x="101001" y="259462"/>
                  </a:lnTo>
                  <a:cubicBezTo>
                    <a:pt x="101720" y="259894"/>
                    <a:pt x="102272" y="260554"/>
                    <a:pt x="102572" y="261337"/>
                  </a:cubicBezTo>
                  <a:cubicBezTo>
                    <a:pt x="102743" y="261757"/>
                    <a:pt x="102947" y="262163"/>
                    <a:pt x="103180" y="262553"/>
                  </a:cubicBezTo>
                  <a:cubicBezTo>
                    <a:pt x="103322" y="262778"/>
                    <a:pt x="103572" y="262913"/>
                    <a:pt x="103838" y="262907"/>
                  </a:cubicBezTo>
                  <a:lnTo>
                    <a:pt x="103838" y="262907"/>
                  </a:lnTo>
                  <a:cubicBezTo>
                    <a:pt x="104131" y="262906"/>
                    <a:pt x="104393" y="262725"/>
                    <a:pt x="104497" y="262451"/>
                  </a:cubicBezTo>
                  <a:cubicBezTo>
                    <a:pt x="105610" y="260038"/>
                    <a:pt x="106377" y="257479"/>
                    <a:pt x="106777" y="254852"/>
                  </a:cubicBezTo>
                  <a:lnTo>
                    <a:pt x="109716" y="254852"/>
                  </a:lnTo>
                  <a:cubicBezTo>
                    <a:pt x="110118" y="257472"/>
                    <a:pt x="110868" y="260028"/>
                    <a:pt x="111945" y="262451"/>
                  </a:cubicBezTo>
                  <a:cubicBezTo>
                    <a:pt x="112049" y="262725"/>
                    <a:pt x="112311" y="262906"/>
                    <a:pt x="112603" y="262907"/>
                  </a:cubicBezTo>
                  <a:lnTo>
                    <a:pt x="112603" y="262907"/>
                  </a:lnTo>
                  <a:cubicBezTo>
                    <a:pt x="112870" y="262913"/>
                    <a:pt x="113120" y="262778"/>
                    <a:pt x="113262" y="262553"/>
                  </a:cubicBezTo>
                  <a:cubicBezTo>
                    <a:pt x="113495" y="262163"/>
                    <a:pt x="113698" y="261757"/>
                    <a:pt x="113870" y="261337"/>
                  </a:cubicBezTo>
                  <a:cubicBezTo>
                    <a:pt x="114175" y="260542"/>
                    <a:pt x="114749" y="259879"/>
                    <a:pt x="115491" y="259462"/>
                  </a:cubicBezTo>
                  <a:cubicBezTo>
                    <a:pt x="115835" y="259185"/>
                    <a:pt x="116209" y="258947"/>
                    <a:pt x="116606" y="258753"/>
                  </a:cubicBezTo>
                  <a:cubicBezTo>
                    <a:pt x="116574" y="256822"/>
                    <a:pt x="118113" y="255232"/>
                    <a:pt x="120043" y="255200"/>
                  </a:cubicBezTo>
                  <a:cubicBezTo>
                    <a:pt x="120707" y="255189"/>
                    <a:pt x="121360" y="255367"/>
                    <a:pt x="121926" y="255713"/>
                  </a:cubicBezTo>
                  <a:cubicBezTo>
                    <a:pt x="124611" y="255713"/>
                    <a:pt x="127499" y="256017"/>
                    <a:pt x="130437" y="256017"/>
                  </a:cubicBezTo>
                  <a:cubicBezTo>
                    <a:pt x="135702" y="256000"/>
                    <a:pt x="140962" y="255696"/>
                    <a:pt x="146194" y="255105"/>
                  </a:cubicBezTo>
                  <a:cubicBezTo>
                    <a:pt x="146339" y="255496"/>
                    <a:pt x="146525" y="255869"/>
                    <a:pt x="146751" y="256220"/>
                  </a:cubicBezTo>
                  <a:lnTo>
                    <a:pt x="146751" y="256220"/>
                  </a:lnTo>
                  <a:cubicBezTo>
                    <a:pt x="147037" y="256665"/>
                    <a:pt x="147378" y="257074"/>
                    <a:pt x="147765" y="257435"/>
                  </a:cubicBezTo>
                  <a:cubicBezTo>
                    <a:pt x="148929" y="258437"/>
                    <a:pt x="149775" y="259758"/>
                    <a:pt x="150196" y="261235"/>
                  </a:cubicBezTo>
                  <a:cubicBezTo>
                    <a:pt x="150286" y="261584"/>
                    <a:pt x="150596" y="261832"/>
                    <a:pt x="150956" y="261843"/>
                  </a:cubicBezTo>
                  <a:lnTo>
                    <a:pt x="150956" y="261843"/>
                  </a:lnTo>
                  <a:cubicBezTo>
                    <a:pt x="151364" y="261767"/>
                    <a:pt x="151648" y="261395"/>
                    <a:pt x="151615" y="260982"/>
                  </a:cubicBezTo>
                  <a:cubicBezTo>
                    <a:pt x="151615" y="260121"/>
                    <a:pt x="152122" y="259209"/>
                    <a:pt x="152932" y="258043"/>
                  </a:cubicBezTo>
                  <a:cubicBezTo>
                    <a:pt x="153909" y="256775"/>
                    <a:pt x="154632" y="255330"/>
                    <a:pt x="155060" y="253788"/>
                  </a:cubicBezTo>
                  <a:cubicBezTo>
                    <a:pt x="163697" y="252642"/>
                    <a:pt x="172188" y="250587"/>
                    <a:pt x="180392" y="247657"/>
                  </a:cubicBezTo>
                  <a:lnTo>
                    <a:pt x="180646" y="247303"/>
                  </a:lnTo>
                  <a:cubicBezTo>
                    <a:pt x="182922" y="247922"/>
                    <a:pt x="185045" y="249009"/>
                    <a:pt x="186877" y="250494"/>
                  </a:cubicBezTo>
                  <a:cubicBezTo>
                    <a:pt x="187345" y="251824"/>
                    <a:pt x="187667" y="253200"/>
                    <a:pt x="187840" y="254598"/>
                  </a:cubicBezTo>
                  <a:cubicBezTo>
                    <a:pt x="187893" y="254980"/>
                    <a:pt x="188093" y="255325"/>
                    <a:pt x="188397" y="255561"/>
                  </a:cubicBezTo>
                  <a:cubicBezTo>
                    <a:pt x="188735" y="255717"/>
                    <a:pt x="189124" y="255717"/>
                    <a:pt x="189461" y="255561"/>
                  </a:cubicBezTo>
                  <a:cubicBezTo>
                    <a:pt x="189461" y="255561"/>
                    <a:pt x="193920" y="255308"/>
                    <a:pt x="197568" y="262502"/>
                  </a:cubicBezTo>
                  <a:close/>
                  <a:moveTo>
                    <a:pt x="147460" y="250342"/>
                  </a:moveTo>
                  <a:cubicBezTo>
                    <a:pt x="147830" y="249155"/>
                    <a:pt x="148624" y="248145"/>
                    <a:pt x="149690" y="247505"/>
                  </a:cubicBezTo>
                  <a:cubicBezTo>
                    <a:pt x="150050" y="247266"/>
                    <a:pt x="150474" y="247143"/>
                    <a:pt x="150906" y="247151"/>
                  </a:cubicBezTo>
                  <a:lnTo>
                    <a:pt x="151615" y="247151"/>
                  </a:lnTo>
                  <a:cubicBezTo>
                    <a:pt x="152711" y="247485"/>
                    <a:pt x="153591" y="248308"/>
                    <a:pt x="153996" y="249380"/>
                  </a:cubicBezTo>
                  <a:cubicBezTo>
                    <a:pt x="153996" y="249380"/>
                    <a:pt x="153996" y="249887"/>
                    <a:pt x="154249" y="250140"/>
                  </a:cubicBezTo>
                  <a:cubicBezTo>
                    <a:pt x="154347" y="250795"/>
                    <a:pt x="154347" y="251461"/>
                    <a:pt x="154249" y="252116"/>
                  </a:cubicBezTo>
                  <a:cubicBezTo>
                    <a:pt x="154083" y="253975"/>
                    <a:pt x="153359" y="255741"/>
                    <a:pt x="152172" y="257182"/>
                  </a:cubicBezTo>
                  <a:cubicBezTo>
                    <a:pt x="151815" y="257665"/>
                    <a:pt x="151494" y="258173"/>
                    <a:pt x="151210" y="258702"/>
                  </a:cubicBezTo>
                  <a:cubicBezTo>
                    <a:pt x="150641" y="257867"/>
                    <a:pt x="149997" y="257087"/>
                    <a:pt x="149284" y="256372"/>
                  </a:cubicBezTo>
                  <a:cubicBezTo>
                    <a:pt x="148981" y="256099"/>
                    <a:pt x="148709" y="255793"/>
                    <a:pt x="148474" y="255460"/>
                  </a:cubicBezTo>
                  <a:lnTo>
                    <a:pt x="148474" y="255460"/>
                  </a:lnTo>
                  <a:cubicBezTo>
                    <a:pt x="148068" y="254792"/>
                    <a:pt x="147744" y="254077"/>
                    <a:pt x="147511" y="253332"/>
                  </a:cubicBezTo>
                  <a:cubicBezTo>
                    <a:pt x="147245" y="252387"/>
                    <a:pt x="147245" y="251388"/>
                    <a:pt x="147511" y="250444"/>
                  </a:cubicBezTo>
                  <a:close/>
                  <a:moveTo>
                    <a:pt x="187992" y="243705"/>
                  </a:moveTo>
                  <a:cubicBezTo>
                    <a:pt x="188643" y="244805"/>
                    <a:pt x="188944" y="246078"/>
                    <a:pt x="188853" y="247353"/>
                  </a:cubicBezTo>
                  <a:cubicBezTo>
                    <a:pt x="188844" y="248073"/>
                    <a:pt x="188742" y="248788"/>
                    <a:pt x="188549" y="249481"/>
                  </a:cubicBezTo>
                  <a:cubicBezTo>
                    <a:pt x="187516" y="248523"/>
                    <a:pt x="186336" y="247736"/>
                    <a:pt x="185053" y="247151"/>
                  </a:cubicBezTo>
                  <a:lnTo>
                    <a:pt x="182622" y="246137"/>
                  </a:lnTo>
                  <a:lnTo>
                    <a:pt x="181608" y="245783"/>
                  </a:lnTo>
                  <a:cubicBezTo>
                    <a:pt x="181805" y="245018"/>
                    <a:pt x="181941" y="244239"/>
                    <a:pt x="182014" y="243452"/>
                  </a:cubicBezTo>
                  <a:cubicBezTo>
                    <a:pt x="182085" y="242525"/>
                    <a:pt x="182085" y="241593"/>
                    <a:pt x="182014" y="240666"/>
                  </a:cubicBezTo>
                  <a:cubicBezTo>
                    <a:pt x="182081" y="240331"/>
                    <a:pt x="182081" y="239987"/>
                    <a:pt x="182014" y="239652"/>
                  </a:cubicBezTo>
                  <a:cubicBezTo>
                    <a:pt x="184471" y="240237"/>
                    <a:pt x="186621" y="241719"/>
                    <a:pt x="188043" y="243807"/>
                  </a:cubicBezTo>
                  <a:close/>
                  <a:moveTo>
                    <a:pt x="171019" y="240615"/>
                  </a:moveTo>
                  <a:lnTo>
                    <a:pt x="176795" y="238487"/>
                  </a:lnTo>
                  <a:cubicBezTo>
                    <a:pt x="177680" y="238098"/>
                    <a:pt x="178705" y="238214"/>
                    <a:pt x="179480" y="238791"/>
                  </a:cubicBezTo>
                  <a:lnTo>
                    <a:pt x="179480" y="238791"/>
                  </a:lnTo>
                  <a:lnTo>
                    <a:pt x="179734" y="238791"/>
                  </a:lnTo>
                  <a:cubicBezTo>
                    <a:pt x="180144" y="239155"/>
                    <a:pt x="180398" y="239663"/>
                    <a:pt x="180443" y="240210"/>
                  </a:cubicBezTo>
                  <a:cubicBezTo>
                    <a:pt x="180520" y="241289"/>
                    <a:pt x="180520" y="242373"/>
                    <a:pt x="180443" y="243452"/>
                  </a:cubicBezTo>
                  <a:cubicBezTo>
                    <a:pt x="180369" y="244110"/>
                    <a:pt x="180216" y="244756"/>
                    <a:pt x="179987" y="245377"/>
                  </a:cubicBezTo>
                  <a:lnTo>
                    <a:pt x="179987" y="245377"/>
                  </a:lnTo>
                  <a:cubicBezTo>
                    <a:pt x="179997" y="245512"/>
                    <a:pt x="179997" y="245648"/>
                    <a:pt x="179987" y="245783"/>
                  </a:cubicBezTo>
                  <a:cubicBezTo>
                    <a:pt x="175016" y="247468"/>
                    <a:pt x="169938" y="248822"/>
                    <a:pt x="164788" y="249836"/>
                  </a:cubicBezTo>
                  <a:cubicBezTo>
                    <a:pt x="162103" y="250393"/>
                    <a:pt x="159164" y="250950"/>
                    <a:pt x="156073" y="251457"/>
                  </a:cubicBezTo>
                  <a:lnTo>
                    <a:pt x="156073" y="251457"/>
                  </a:lnTo>
                  <a:cubicBezTo>
                    <a:pt x="156168" y="250785"/>
                    <a:pt x="156168" y="250103"/>
                    <a:pt x="156073" y="249431"/>
                  </a:cubicBezTo>
                  <a:cubicBezTo>
                    <a:pt x="156096" y="249195"/>
                    <a:pt x="156096" y="248957"/>
                    <a:pt x="156073" y="248721"/>
                  </a:cubicBezTo>
                  <a:cubicBezTo>
                    <a:pt x="155574" y="247079"/>
                    <a:pt x="154277" y="245802"/>
                    <a:pt x="152628" y="245327"/>
                  </a:cubicBezTo>
                  <a:lnTo>
                    <a:pt x="152628" y="245327"/>
                  </a:lnTo>
                  <a:cubicBezTo>
                    <a:pt x="152275" y="245277"/>
                    <a:pt x="151917" y="245277"/>
                    <a:pt x="151564" y="245327"/>
                  </a:cubicBezTo>
                  <a:lnTo>
                    <a:pt x="151058" y="245327"/>
                  </a:lnTo>
                  <a:cubicBezTo>
                    <a:pt x="150512" y="245381"/>
                    <a:pt x="149989" y="245573"/>
                    <a:pt x="149538" y="245884"/>
                  </a:cubicBezTo>
                  <a:lnTo>
                    <a:pt x="149132" y="245884"/>
                  </a:lnTo>
                  <a:cubicBezTo>
                    <a:pt x="147767" y="246815"/>
                    <a:pt x="146835" y="248259"/>
                    <a:pt x="146548" y="249887"/>
                  </a:cubicBezTo>
                  <a:cubicBezTo>
                    <a:pt x="146381" y="250808"/>
                    <a:pt x="146381" y="251752"/>
                    <a:pt x="146548" y="252673"/>
                  </a:cubicBezTo>
                  <a:cubicBezTo>
                    <a:pt x="146548" y="252673"/>
                    <a:pt x="146548" y="252673"/>
                    <a:pt x="146548" y="252673"/>
                  </a:cubicBezTo>
                  <a:cubicBezTo>
                    <a:pt x="142901" y="253078"/>
                    <a:pt x="139354" y="253332"/>
                    <a:pt x="135960" y="253433"/>
                  </a:cubicBezTo>
                  <a:cubicBezTo>
                    <a:pt x="131623" y="253691"/>
                    <a:pt x="127275" y="253691"/>
                    <a:pt x="122939" y="253433"/>
                  </a:cubicBezTo>
                  <a:cubicBezTo>
                    <a:pt x="122146" y="253358"/>
                    <a:pt x="121383" y="253098"/>
                    <a:pt x="120710" y="252673"/>
                  </a:cubicBezTo>
                  <a:cubicBezTo>
                    <a:pt x="120255" y="252320"/>
                    <a:pt x="119847" y="251912"/>
                    <a:pt x="119494" y="251457"/>
                  </a:cubicBezTo>
                  <a:lnTo>
                    <a:pt x="119494" y="251457"/>
                  </a:lnTo>
                  <a:lnTo>
                    <a:pt x="119038" y="250748"/>
                  </a:lnTo>
                  <a:cubicBezTo>
                    <a:pt x="118716" y="250163"/>
                    <a:pt x="118324" y="249618"/>
                    <a:pt x="117872" y="249127"/>
                  </a:cubicBezTo>
                  <a:cubicBezTo>
                    <a:pt x="117583" y="248698"/>
                    <a:pt x="117583" y="248136"/>
                    <a:pt x="117872" y="247708"/>
                  </a:cubicBezTo>
                  <a:cubicBezTo>
                    <a:pt x="118581" y="246501"/>
                    <a:pt x="119868" y="245752"/>
                    <a:pt x="121267" y="245732"/>
                  </a:cubicBezTo>
                  <a:cubicBezTo>
                    <a:pt x="122768" y="245633"/>
                    <a:pt x="124275" y="245633"/>
                    <a:pt x="125776" y="245732"/>
                  </a:cubicBezTo>
                  <a:lnTo>
                    <a:pt x="129677" y="245732"/>
                  </a:lnTo>
                  <a:lnTo>
                    <a:pt x="131248" y="245732"/>
                  </a:lnTo>
                  <a:cubicBezTo>
                    <a:pt x="133072" y="245732"/>
                    <a:pt x="135098" y="245732"/>
                    <a:pt x="137328" y="245732"/>
                  </a:cubicBezTo>
                  <a:lnTo>
                    <a:pt x="138949" y="245732"/>
                  </a:lnTo>
                  <a:lnTo>
                    <a:pt x="142293" y="245732"/>
                  </a:lnTo>
                  <a:cubicBezTo>
                    <a:pt x="144927" y="245732"/>
                    <a:pt x="147764" y="245327"/>
                    <a:pt x="150754" y="244921"/>
                  </a:cubicBezTo>
                  <a:cubicBezTo>
                    <a:pt x="157693" y="244164"/>
                    <a:pt x="164546" y="242756"/>
                    <a:pt x="171222" y="240716"/>
                  </a:cubicBezTo>
                  <a:close/>
                  <a:moveTo>
                    <a:pt x="169145" y="239652"/>
                  </a:moveTo>
                  <a:cubicBezTo>
                    <a:pt x="167118" y="240260"/>
                    <a:pt x="165142" y="240868"/>
                    <a:pt x="163166" y="241375"/>
                  </a:cubicBezTo>
                  <a:lnTo>
                    <a:pt x="154756" y="228911"/>
                  </a:lnTo>
                  <a:lnTo>
                    <a:pt x="160582" y="209152"/>
                  </a:lnTo>
                  <a:close/>
                  <a:moveTo>
                    <a:pt x="159924" y="206771"/>
                  </a:moveTo>
                  <a:lnTo>
                    <a:pt x="153844" y="227391"/>
                  </a:lnTo>
                  <a:lnTo>
                    <a:pt x="145890" y="215587"/>
                  </a:lnTo>
                  <a:cubicBezTo>
                    <a:pt x="145720" y="215372"/>
                    <a:pt x="145453" y="215258"/>
                    <a:pt x="145180" y="215283"/>
                  </a:cubicBezTo>
                  <a:cubicBezTo>
                    <a:pt x="144880" y="215306"/>
                    <a:pt x="144621" y="215505"/>
                    <a:pt x="144522" y="215789"/>
                  </a:cubicBezTo>
                  <a:cubicBezTo>
                    <a:pt x="142242" y="222173"/>
                    <a:pt x="140773" y="226429"/>
                    <a:pt x="140063" y="228607"/>
                  </a:cubicBezTo>
                  <a:cubicBezTo>
                    <a:pt x="138594" y="226581"/>
                    <a:pt x="135250" y="221818"/>
                    <a:pt x="131501" y="216397"/>
                  </a:cubicBezTo>
                  <a:lnTo>
                    <a:pt x="135301" y="197550"/>
                  </a:lnTo>
                  <a:lnTo>
                    <a:pt x="142799" y="207683"/>
                  </a:lnTo>
                  <a:cubicBezTo>
                    <a:pt x="142972" y="207924"/>
                    <a:pt x="143268" y="208042"/>
                    <a:pt x="143559" y="207987"/>
                  </a:cubicBezTo>
                  <a:cubicBezTo>
                    <a:pt x="143833" y="207966"/>
                    <a:pt x="144070" y="207788"/>
                    <a:pt x="144167" y="207531"/>
                  </a:cubicBezTo>
                  <a:lnTo>
                    <a:pt x="148676" y="195726"/>
                  </a:lnTo>
                  <a:close/>
                  <a:moveTo>
                    <a:pt x="202837" y="235700"/>
                  </a:moveTo>
                  <a:lnTo>
                    <a:pt x="199391" y="232559"/>
                  </a:lnTo>
                  <a:lnTo>
                    <a:pt x="198632" y="231901"/>
                  </a:lnTo>
                  <a:lnTo>
                    <a:pt x="191741" y="67039"/>
                  </a:lnTo>
                  <a:cubicBezTo>
                    <a:pt x="188384" y="70645"/>
                    <a:pt x="184796" y="74030"/>
                    <a:pt x="181000" y="77172"/>
                  </a:cubicBezTo>
                  <a:lnTo>
                    <a:pt x="186979" y="221565"/>
                  </a:lnTo>
                  <a:lnTo>
                    <a:pt x="182318" y="217360"/>
                  </a:lnTo>
                  <a:cubicBezTo>
                    <a:pt x="182318" y="217360"/>
                    <a:pt x="182318" y="217360"/>
                    <a:pt x="182318" y="217360"/>
                  </a:cubicBezTo>
                  <a:lnTo>
                    <a:pt x="181558" y="216701"/>
                  </a:lnTo>
                  <a:lnTo>
                    <a:pt x="175883" y="81275"/>
                  </a:lnTo>
                  <a:cubicBezTo>
                    <a:pt x="173350" y="83201"/>
                    <a:pt x="170513" y="85075"/>
                    <a:pt x="167473" y="86950"/>
                  </a:cubicBezTo>
                  <a:lnTo>
                    <a:pt x="172539" y="208544"/>
                  </a:lnTo>
                  <a:lnTo>
                    <a:pt x="167777" y="204289"/>
                  </a:lnTo>
                  <a:lnTo>
                    <a:pt x="167068" y="203579"/>
                  </a:lnTo>
                  <a:lnTo>
                    <a:pt x="162305" y="89787"/>
                  </a:lnTo>
                  <a:cubicBezTo>
                    <a:pt x="160076" y="90952"/>
                    <a:pt x="157796" y="92067"/>
                    <a:pt x="155415" y="93131"/>
                  </a:cubicBezTo>
                  <a:cubicBezTo>
                    <a:pt x="155274" y="92866"/>
                    <a:pt x="155005" y="92693"/>
                    <a:pt x="154705" y="92675"/>
                  </a:cubicBezTo>
                  <a:cubicBezTo>
                    <a:pt x="126891" y="91966"/>
                    <a:pt x="112603" y="82137"/>
                    <a:pt x="109766" y="80009"/>
                  </a:cubicBezTo>
                  <a:lnTo>
                    <a:pt x="109260" y="79553"/>
                  </a:lnTo>
                  <a:cubicBezTo>
                    <a:pt x="108971" y="79295"/>
                    <a:pt x="108535" y="79295"/>
                    <a:pt x="108246" y="79553"/>
                  </a:cubicBezTo>
                  <a:lnTo>
                    <a:pt x="107689" y="80009"/>
                  </a:lnTo>
                  <a:cubicBezTo>
                    <a:pt x="104852" y="82187"/>
                    <a:pt x="90666" y="91966"/>
                    <a:pt x="62750" y="92675"/>
                  </a:cubicBezTo>
                  <a:cubicBezTo>
                    <a:pt x="62457" y="92676"/>
                    <a:pt x="62195" y="92858"/>
                    <a:pt x="62091" y="93131"/>
                  </a:cubicBezTo>
                  <a:cubicBezTo>
                    <a:pt x="59659" y="92067"/>
                    <a:pt x="57379" y="90952"/>
                    <a:pt x="55150" y="89787"/>
                  </a:cubicBezTo>
                  <a:lnTo>
                    <a:pt x="50438" y="203579"/>
                  </a:lnTo>
                  <a:lnTo>
                    <a:pt x="49678" y="204289"/>
                  </a:lnTo>
                  <a:lnTo>
                    <a:pt x="44916" y="208544"/>
                  </a:lnTo>
                  <a:lnTo>
                    <a:pt x="49982" y="86950"/>
                  </a:lnTo>
                  <a:cubicBezTo>
                    <a:pt x="46942" y="85075"/>
                    <a:pt x="44105" y="83201"/>
                    <a:pt x="41572" y="81275"/>
                  </a:cubicBezTo>
                  <a:lnTo>
                    <a:pt x="36049" y="216448"/>
                  </a:lnTo>
                  <a:lnTo>
                    <a:pt x="35289" y="217107"/>
                  </a:lnTo>
                  <a:lnTo>
                    <a:pt x="35289" y="217107"/>
                  </a:lnTo>
                  <a:lnTo>
                    <a:pt x="30628" y="221312"/>
                  </a:lnTo>
                  <a:lnTo>
                    <a:pt x="36607" y="76918"/>
                  </a:lnTo>
                  <a:cubicBezTo>
                    <a:pt x="32823" y="73763"/>
                    <a:pt x="29236" y="70379"/>
                    <a:pt x="25866" y="66785"/>
                  </a:cubicBezTo>
                  <a:lnTo>
                    <a:pt x="18722" y="232103"/>
                  </a:lnTo>
                  <a:lnTo>
                    <a:pt x="18013" y="232762"/>
                  </a:lnTo>
                  <a:lnTo>
                    <a:pt x="14517" y="235903"/>
                  </a:lnTo>
                  <a:lnTo>
                    <a:pt x="21661" y="64151"/>
                  </a:lnTo>
                  <a:cubicBezTo>
                    <a:pt x="17824" y="65462"/>
                    <a:pt x="14151" y="67213"/>
                    <a:pt x="10717" y="69369"/>
                  </a:cubicBezTo>
                  <a:lnTo>
                    <a:pt x="10717" y="68052"/>
                  </a:lnTo>
                  <a:cubicBezTo>
                    <a:pt x="10971" y="62327"/>
                    <a:pt x="14264" y="53663"/>
                    <a:pt x="20850" y="52447"/>
                  </a:cubicBezTo>
                  <a:cubicBezTo>
                    <a:pt x="22524" y="52162"/>
                    <a:pt x="24218" y="52010"/>
                    <a:pt x="25917" y="51991"/>
                  </a:cubicBezTo>
                  <a:cubicBezTo>
                    <a:pt x="35571" y="52796"/>
                    <a:pt x="44880" y="55963"/>
                    <a:pt x="53022" y="61212"/>
                  </a:cubicBezTo>
                  <a:cubicBezTo>
                    <a:pt x="55150" y="62378"/>
                    <a:pt x="57176" y="63492"/>
                    <a:pt x="59203" y="64505"/>
                  </a:cubicBezTo>
                  <a:cubicBezTo>
                    <a:pt x="66057" y="66956"/>
                    <a:pt x="73256" y="68307"/>
                    <a:pt x="80533" y="68508"/>
                  </a:cubicBezTo>
                  <a:cubicBezTo>
                    <a:pt x="79519" y="69775"/>
                    <a:pt x="78456" y="70940"/>
                    <a:pt x="77341" y="72105"/>
                  </a:cubicBezTo>
                  <a:cubicBezTo>
                    <a:pt x="77044" y="72475"/>
                    <a:pt x="77044" y="73001"/>
                    <a:pt x="77341" y="73372"/>
                  </a:cubicBezTo>
                  <a:cubicBezTo>
                    <a:pt x="77511" y="73688"/>
                    <a:pt x="77843" y="73883"/>
                    <a:pt x="78202" y="73878"/>
                  </a:cubicBezTo>
                  <a:lnTo>
                    <a:pt x="78506" y="73878"/>
                  </a:lnTo>
                  <a:cubicBezTo>
                    <a:pt x="79191" y="73729"/>
                    <a:pt x="79885" y="73628"/>
                    <a:pt x="80583" y="73574"/>
                  </a:cubicBezTo>
                  <a:cubicBezTo>
                    <a:pt x="84461" y="73476"/>
                    <a:pt x="88178" y="72004"/>
                    <a:pt x="91071" y="69420"/>
                  </a:cubicBezTo>
                  <a:cubicBezTo>
                    <a:pt x="90640" y="71374"/>
                    <a:pt x="90335" y="73354"/>
                    <a:pt x="90159" y="75348"/>
                  </a:cubicBezTo>
                  <a:cubicBezTo>
                    <a:pt x="90154" y="75707"/>
                    <a:pt x="90349" y="76039"/>
                    <a:pt x="90666" y="76209"/>
                  </a:cubicBezTo>
                  <a:cubicBezTo>
                    <a:pt x="90845" y="76279"/>
                    <a:pt x="91044" y="76279"/>
                    <a:pt x="91223" y="76209"/>
                  </a:cubicBezTo>
                  <a:lnTo>
                    <a:pt x="91628" y="76209"/>
                  </a:lnTo>
                  <a:cubicBezTo>
                    <a:pt x="95284" y="74619"/>
                    <a:pt x="98513" y="72189"/>
                    <a:pt x="101052" y="69116"/>
                  </a:cubicBezTo>
                  <a:lnTo>
                    <a:pt x="101356" y="68761"/>
                  </a:lnTo>
                  <a:lnTo>
                    <a:pt x="101609" y="69116"/>
                  </a:lnTo>
                  <a:cubicBezTo>
                    <a:pt x="103300" y="71392"/>
                    <a:pt x="105334" y="73392"/>
                    <a:pt x="107638" y="75044"/>
                  </a:cubicBezTo>
                  <a:lnTo>
                    <a:pt x="108347" y="75398"/>
                  </a:lnTo>
                  <a:lnTo>
                    <a:pt x="108702" y="75398"/>
                  </a:lnTo>
                  <a:cubicBezTo>
                    <a:pt x="108969" y="75394"/>
                    <a:pt x="109224" y="75285"/>
                    <a:pt x="109412" y="75094"/>
                  </a:cubicBezTo>
                  <a:lnTo>
                    <a:pt x="109716" y="74790"/>
                  </a:lnTo>
                  <a:cubicBezTo>
                    <a:pt x="111559" y="73152"/>
                    <a:pt x="113254" y="71355"/>
                    <a:pt x="114782" y="69420"/>
                  </a:cubicBezTo>
                  <a:cubicBezTo>
                    <a:pt x="118545" y="72815"/>
                    <a:pt x="123239" y="75003"/>
                    <a:pt x="128259" y="75702"/>
                  </a:cubicBezTo>
                  <a:cubicBezTo>
                    <a:pt x="128835" y="75677"/>
                    <a:pt x="129297" y="75215"/>
                    <a:pt x="129323" y="74638"/>
                  </a:cubicBezTo>
                  <a:cubicBezTo>
                    <a:pt x="129229" y="73248"/>
                    <a:pt x="128922" y="71881"/>
                    <a:pt x="128411" y="70585"/>
                  </a:cubicBezTo>
                  <a:cubicBezTo>
                    <a:pt x="131478" y="72103"/>
                    <a:pt x="134869" y="72850"/>
                    <a:pt x="138290" y="72764"/>
                  </a:cubicBezTo>
                  <a:cubicBezTo>
                    <a:pt x="138683" y="72745"/>
                    <a:pt x="139034" y="72511"/>
                    <a:pt x="139202" y="72156"/>
                  </a:cubicBezTo>
                  <a:cubicBezTo>
                    <a:pt x="139403" y="71830"/>
                    <a:pt x="139403" y="71418"/>
                    <a:pt x="139202" y="71092"/>
                  </a:cubicBezTo>
                  <a:lnTo>
                    <a:pt x="139202" y="71092"/>
                  </a:lnTo>
                  <a:lnTo>
                    <a:pt x="137480" y="68609"/>
                  </a:lnTo>
                  <a:cubicBezTo>
                    <a:pt x="141470" y="68344"/>
                    <a:pt x="145444" y="67871"/>
                    <a:pt x="149386" y="67191"/>
                  </a:cubicBezTo>
                  <a:cubicBezTo>
                    <a:pt x="152471" y="66734"/>
                    <a:pt x="155485" y="65882"/>
                    <a:pt x="158353" y="64657"/>
                  </a:cubicBezTo>
                  <a:cubicBezTo>
                    <a:pt x="160380" y="63644"/>
                    <a:pt x="162406" y="62529"/>
                    <a:pt x="164585" y="61364"/>
                  </a:cubicBezTo>
                  <a:cubicBezTo>
                    <a:pt x="172709" y="56115"/>
                    <a:pt x="182001" y="52948"/>
                    <a:pt x="191640" y="52143"/>
                  </a:cubicBezTo>
                  <a:cubicBezTo>
                    <a:pt x="193423" y="52146"/>
                    <a:pt x="195202" y="52299"/>
                    <a:pt x="196959" y="52599"/>
                  </a:cubicBezTo>
                  <a:cubicBezTo>
                    <a:pt x="203445" y="53815"/>
                    <a:pt x="206738" y="62479"/>
                    <a:pt x="207093" y="68204"/>
                  </a:cubicBezTo>
                  <a:lnTo>
                    <a:pt x="207093" y="69521"/>
                  </a:lnTo>
                  <a:cubicBezTo>
                    <a:pt x="203670" y="67277"/>
                    <a:pt x="199998" y="65441"/>
                    <a:pt x="196149" y="64049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E7144C3-A894-4E62-89DE-09D29FA58775}"/>
                </a:ext>
              </a:extLst>
            </p:cNvPr>
            <p:cNvSpPr/>
            <p:nvPr/>
          </p:nvSpPr>
          <p:spPr>
            <a:xfrm>
              <a:off x="-2017328" y="460708"/>
              <a:ext cx="8642" cy="4156"/>
            </a:xfrm>
            <a:custGeom>
              <a:avLst/>
              <a:gdLst>
                <a:gd name="connsiteX0" fmla="*/ 421 w 8642"/>
                <a:gd name="connsiteY0" fmla="*/ 1687 h 4156"/>
                <a:gd name="connsiteX1" fmla="*/ 7362 w 8642"/>
                <a:gd name="connsiteY1" fmla="*/ 4119 h 4156"/>
                <a:gd name="connsiteX2" fmla="*/ 7817 w 8642"/>
                <a:gd name="connsiteY2" fmla="*/ 4119 h 4156"/>
                <a:gd name="connsiteX3" fmla="*/ 8425 w 8642"/>
                <a:gd name="connsiteY3" fmla="*/ 3764 h 4156"/>
                <a:gd name="connsiteX4" fmla="*/ 8425 w 8642"/>
                <a:gd name="connsiteY4" fmla="*/ 2700 h 4156"/>
                <a:gd name="connsiteX5" fmla="*/ 927 w 8642"/>
                <a:gd name="connsiteY5" fmla="*/ 15 h 4156"/>
                <a:gd name="connsiteX6" fmla="*/ 15 w 8642"/>
                <a:gd name="connsiteY6" fmla="*/ 623 h 4156"/>
                <a:gd name="connsiteX7" fmla="*/ 623 w 8642"/>
                <a:gd name="connsiteY7" fmla="*/ 1535 h 4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42" h="4156">
                  <a:moveTo>
                    <a:pt x="421" y="1687"/>
                  </a:moveTo>
                  <a:cubicBezTo>
                    <a:pt x="2846" y="2135"/>
                    <a:pt x="5187" y="2955"/>
                    <a:pt x="7362" y="4119"/>
                  </a:cubicBezTo>
                  <a:cubicBezTo>
                    <a:pt x="7509" y="4169"/>
                    <a:pt x="7670" y="4169"/>
                    <a:pt x="7817" y="4119"/>
                  </a:cubicBezTo>
                  <a:cubicBezTo>
                    <a:pt x="8061" y="4093"/>
                    <a:pt x="8283" y="3964"/>
                    <a:pt x="8425" y="3764"/>
                  </a:cubicBezTo>
                  <a:cubicBezTo>
                    <a:pt x="8715" y="3469"/>
                    <a:pt x="8715" y="2996"/>
                    <a:pt x="8425" y="2700"/>
                  </a:cubicBezTo>
                  <a:cubicBezTo>
                    <a:pt x="6086" y="1408"/>
                    <a:pt x="3555" y="502"/>
                    <a:pt x="927" y="15"/>
                  </a:cubicBezTo>
                  <a:cubicBezTo>
                    <a:pt x="507" y="-69"/>
                    <a:pt x="99" y="203"/>
                    <a:pt x="15" y="623"/>
                  </a:cubicBezTo>
                  <a:cubicBezTo>
                    <a:pt x="-69" y="1043"/>
                    <a:pt x="203" y="1451"/>
                    <a:pt x="623" y="1535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4819FE54-48ED-446F-B5E0-E68FD929A150}"/>
                </a:ext>
              </a:extLst>
            </p:cNvPr>
            <p:cNvSpPr/>
            <p:nvPr/>
          </p:nvSpPr>
          <p:spPr>
            <a:xfrm>
              <a:off x="-2005172" y="464616"/>
              <a:ext cx="9375" cy="3656"/>
            </a:xfrm>
            <a:custGeom>
              <a:avLst/>
              <a:gdLst>
                <a:gd name="connsiteX0" fmla="*/ 626 w 9375"/>
                <a:gd name="connsiteY0" fmla="*/ 1579 h 3656"/>
                <a:gd name="connsiteX1" fmla="*/ 8276 w 9375"/>
                <a:gd name="connsiteY1" fmla="*/ 3656 h 3656"/>
                <a:gd name="connsiteX2" fmla="*/ 8631 w 9375"/>
                <a:gd name="connsiteY2" fmla="*/ 3656 h 3656"/>
                <a:gd name="connsiteX3" fmla="*/ 9290 w 9375"/>
                <a:gd name="connsiteY3" fmla="*/ 3251 h 3656"/>
                <a:gd name="connsiteX4" fmla="*/ 8986 w 9375"/>
                <a:gd name="connsiteY4" fmla="*/ 2237 h 3656"/>
                <a:gd name="connsiteX5" fmla="*/ 930 w 9375"/>
                <a:gd name="connsiteY5" fmla="*/ 8 h 3656"/>
                <a:gd name="connsiteX6" fmla="*/ 18 w 9375"/>
                <a:gd name="connsiteY6" fmla="*/ 667 h 3656"/>
                <a:gd name="connsiteX7" fmla="*/ 596 w 9375"/>
                <a:gd name="connsiteY7" fmla="*/ 1573 h 3656"/>
                <a:gd name="connsiteX8" fmla="*/ 626 w 9375"/>
                <a:gd name="connsiteY8" fmla="*/ 1579 h 3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75" h="3656">
                  <a:moveTo>
                    <a:pt x="626" y="1579"/>
                  </a:moveTo>
                  <a:cubicBezTo>
                    <a:pt x="3241" y="2003"/>
                    <a:pt x="5805" y="2699"/>
                    <a:pt x="8276" y="3656"/>
                  </a:cubicBezTo>
                  <a:lnTo>
                    <a:pt x="8631" y="3656"/>
                  </a:lnTo>
                  <a:cubicBezTo>
                    <a:pt x="8911" y="3663"/>
                    <a:pt x="9169" y="3504"/>
                    <a:pt x="9290" y="3251"/>
                  </a:cubicBezTo>
                  <a:cubicBezTo>
                    <a:pt x="9479" y="2886"/>
                    <a:pt x="9344" y="2438"/>
                    <a:pt x="8986" y="2237"/>
                  </a:cubicBezTo>
                  <a:cubicBezTo>
                    <a:pt x="6379" y="1234"/>
                    <a:pt x="3681" y="487"/>
                    <a:pt x="930" y="8"/>
                  </a:cubicBezTo>
                  <a:cubicBezTo>
                    <a:pt x="498" y="-53"/>
                    <a:pt x="95" y="238"/>
                    <a:pt x="18" y="667"/>
                  </a:cubicBezTo>
                  <a:cubicBezTo>
                    <a:pt x="-72" y="1077"/>
                    <a:pt x="186" y="1482"/>
                    <a:pt x="596" y="1573"/>
                  </a:cubicBezTo>
                  <a:cubicBezTo>
                    <a:pt x="606" y="1575"/>
                    <a:pt x="616" y="1577"/>
                    <a:pt x="626" y="1579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AA0BA4C-554B-4E54-B7AA-7E368D878D33}"/>
                </a:ext>
              </a:extLst>
            </p:cNvPr>
            <p:cNvSpPr/>
            <p:nvPr/>
          </p:nvSpPr>
          <p:spPr>
            <a:xfrm>
              <a:off x="-1983013" y="468824"/>
              <a:ext cx="9700" cy="1880"/>
            </a:xfrm>
            <a:custGeom>
              <a:avLst/>
              <a:gdLst>
                <a:gd name="connsiteX0" fmla="*/ 861 w 9700"/>
                <a:gd name="connsiteY0" fmla="*/ 1880 h 1880"/>
                <a:gd name="connsiteX1" fmla="*/ 1672 w 9700"/>
                <a:gd name="connsiteY1" fmla="*/ 1880 h 1880"/>
                <a:gd name="connsiteX2" fmla="*/ 8917 w 9700"/>
                <a:gd name="connsiteY2" fmla="*/ 1880 h 1880"/>
                <a:gd name="connsiteX3" fmla="*/ 8917 w 9700"/>
                <a:gd name="connsiteY3" fmla="*/ 1880 h 1880"/>
                <a:gd name="connsiteX4" fmla="*/ 9626 w 9700"/>
                <a:gd name="connsiteY4" fmla="*/ 1323 h 1880"/>
                <a:gd name="connsiteX5" fmla="*/ 9626 w 9700"/>
                <a:gd name="connsiteY5" fmla="*/ 715 h 1880"/>
                <a:gd name="connsiteX6" fmla="*/ 9221 w 9700"/>
                <a:gd name="connsiteY6" fmla="*/ 411 h 1880"/>
                <a:gd name="connsiteX7" fmla="*/ 6232 w 9700"/>
                <a:gd name="connsiteY7" fmla="*/ 5 h 1880"/>
                <a:gd name="connsiteX8" fmla="*/ 1419 w 9700"/>
                <a:gd name="connsiteY8" fmla="*/ 309 h 1880"/>
                <a:gd name="connsiteX9" fmla="*/ 760 w 9700"/>
                <a:gd name="connsiteY9" fmla="*/ 309 h 1880"/>
                <a:gd name="connsiteX10" fmla="*/ 0 w 9700"/>
                <a:gd name="connsiteY10" fmla="*/ 1069 h 1880"/>
                <a:gd name="connsiteX11" fmla="*/ 760 w 9700"/>
                <a:gd name="connsiteY11" fmla="*/ 1829 h 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00" h="1880">
                  <a:moveTo>
                    <a:pt x="861" y="1880"/>
                  </a:moveTo>
                  <a:lnTo>
                    <a:pt x="1672" y="1880"/>
                  </a:lnTo>
                  <a:cubicBezTo>
                    <a:pt x="4070" y="1471"/>
                    <a:pt x="6519" y="1471"/>
                    <a:pt x="8917" y="1880"/>
                  </a:cubicBezTo>
                  <a:lnTo>
                    <a:pt x="8917" y="1880"/>
                  </a:lnTo>
                  <a:cubicBezTo>
                    <a:pt x="9250" y="1870"/>
                    <a:pt x="9538" y="1644"/>
                    <a:pt x="9626" y="1323"/>
                  </a:cubicBezTo>
                  <a:cubicBezTo>
                    <a:pt x="9725" y="1132"/>
                    <a:pt x="9725" y="905"/>
                    <a:pt x="9626" y="715"/>
                  </a:cubicBezTo>
                  <a:cubicBezTo>
                    <a:pt x="9626" y="715"/>
                    <a:pt x="9373" y="715"/>
                    <a:pt x="9221" y="411"/>
                  </a:cubicBezTo>
                  <a:cubicBezTo>
                    <a:pt x="8241" y="173"/>
                    <a:pt x="7239" y="37"/>
                    <a:pt x="6232" y="5"/>
                  </a:cubicBezTo>
                  <a:cubicBezTo>
                    <a:pt x="4622" y="-26"/>
                    <a:pt x="3012" y="76"/>
                    <a:pt x="1419" y="309"/>
                  </a:cubicBezTo>
                  <a:lnTo>
                    <a:pt x="760" y="309"/>
                  </a:lnTo>
                  <a:cubicBezTo>
                    <a:pt x="340" y="309"/>
                    <a:pt x="0" y="650"/>
                    <a:pt x="0" y="1069"/>
                  </a:cubicBezTo>
                  <a:cubicBezTo>
                    <a:pt x="0" y="1489"/>
                    <a:pt x="340" y="1829"/>
                    <a:pt x="760" y="1829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94150C1-7C3F-4ECA-8AA6-930C6FDEF10F}"/>
                </a:ext>
              </a:extLst>
            </p:cNvPr>
            <p:cNvSpPr/>
            <p:nvPr/>
          </p:nvSpPr>
          <p:spPr>
            <a:xfrm>
              <a:off x="-1969621" y="469184"/>
              <a:ext cx="9660" cy="2332"/>
            </a:xfrm>
            <a:custGeom>
              <a:avLst/>
              <a:gdLst>
                <a:gd name="connsiteX0" fmla="*/ 845 w 9660"/>
                <a:gd name="connsiteY0" fmla="*/ 2331 h 2332"/>
                <a:gd name="connsiteX1" fmla="*/ 845 w 9660"/>
                <a:gd name="connsiteY1" fmla="*/ 2331 h 2332"/>
                <a:gd name="connsiteX2" fmla="*/ 8900 w 9660"/>
                <a:gd name="connsiteY2" fmla="*/ 1520 h 2332"/>
                <a:gd name="connsiteX3" fmla="*/ 9660 w 9660"/>
                <a:gd name="connsiteY3" fmla="*/ 760 h 2332"/>
                <a:gd name="connsiteX4" fmla="*/ 8900 w 9660"/>
                <a:gd name="connsiteY4" fmla="*/ 0 h 2332"/>
                <a:gd name="connsiteX5" fmla="*/ 1047 w 9660"/>
                <a:gd name="connsiteY5" fmla="*/ 760 h 2332"/>
                <a:gd name="connsiteX6" fmla="*/ 541 w 9660"/>
                <a:gd name="connsiteY6" fmla="*/ 760 h 2332"/>
                <a:gd name="connsiteX7" fmla="*/ 34 w 9660"/>
                <a:gd name="connsiteY7" fmla="*/ 1064 h 2332"/>
                <a:gd name="connsiteX8" fmla="*/ 34 w 9660"/>
                <a:gd name="connsiteY8" fmla="*/ 1621 h 2332"/>
                <a:gd name="connsiteX9" fmla="*/ 841 w 9660"/>
                <a:gd name="connsiteY9" fmla="*/ 2331 h 2332"/>
                <a:gd name="connsiteX10" fmla="*/ 845 w 9660"/>
                <a:gd name="connsiteY10" fmla="*/ 2331 h 2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660" h="2332">
                  <a:moveTo>
                    <a:pt x="845" y="2331"/>
                  </a:moveTo>
                  <a:lnTo>
                    <a:pt x="845" y="2331"/>
                  </a:lnTo>
                  <a:cubicBezTo>
                    <a:pt x="3511" y="1900"/>
                    <a:pt x="6201" y="1629"/>
                    <a:pt x="8900" y="1520"/>
                  </a:cubicBezTo>
                  <a:cubicBezTo>
                    <a:pt x="9320" y="1520"/>
                    <a:pt x="9660" y="1180"/>
                    <a:pt x="9660" y="760"/>
                  </a:cubicBezTo>
                  <a:cubicBezTo>
                    <a:pt x="9660" y="340"/>
                    <a:pt x="9320" y="0"/>
                    <a:pt x="8900" y="0"/>
                  </a:cubicBezTo>
                  <a:cubicBezTo>
                    <a:pt x="6269" y="90"/>
                    <a:pt x="3646" y="344"/>
                    <a:pt x="1047" y="760"/>
                  </a:cubicBezTo>
                  <a:lnTo>
                    <a:pt x="541" y="760"/>
                  </a:lnTo>
                  <a:cubicBezTo>
                    <a:pt x="336" y="783"/>
                    <a:pt x="151" y="894"/>
                    <a:pt x="34" y="1064"/>
                  </a:cubicBezTo>
                  <a:cubicBezTo>
                    <a:pt x="-11" y="1247"/>
                    <a:pt x="-11" y="1438"/>
                    <a:pt x="34" y="1621"/>
                  </a:cubicBezTo>
                  <a:cubicBezTo>
                    <a:pt x="61" y="2040"/>
                    <a:pt x="422" y="2358"/>
                    <a:pt x="841" y="2331"/>
                  </a:cubicBezTo>
                  <a:cubicBezTo>
                    <a:pt x="842" y="2331"/>
                    <a:pt x="843" y="2331"/>
                    <a:pt x="845" y="2331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A7880112-17BE-45B4-B9E3-427EC0B625B9}"/>
                </a:ext>
              </a:extLst>
            </p:cNvPr>
            <p:cNvSpPr/>
            <p:nvPr/>
          </p:nvSpPr>
          <p:spPr>
            <a:xfrm>
              <a:off x="-1885329" y="461012"/>
              <a:ext cx="8624" cy="4011"/>
            </a:xfrm>
            <a:custGeom>
              <a:avLst/>
              <a:gdLst>
                <a:gd name="connsiteX0" fmla="*/ 604 w 8624"/>
                <a:gd name="connsiteY0" fmla="*/ 3967 h 4011"/>
                <a:gd name="connsiteX1" fmla="*/ 1060 w 8624"/>
                <a:gd name="connsiteY1" fmla="*/ 3967 h 4011"/>
                <a:gd name="connsiteX2" fmla="*/ 8001 w 8624"/>
                <a:gd name="connsiteY2" fmla="*/ 1535 h 4011"/>
                <a:gd name="connsiteX3" fmla="*/ 8609 w 8624"/>
                <a:gd name="connsiteY3" fmla="*/ 623 h 4011"/>
                <a:gd name="connsiteX4" fmla="*/ 7697 w 8624"/>
                <a:gd name="connsiteY4" fmla="*/ 15 h 4011"/>
                <a:gd name="connsiteX5" fmla="*/ 199 w 8624"/>
                <a:gd name="connsiteY5" fmla="*/ 2700 h 4011"/>
                <a:gd name="connsiteX6" fmla="*/ 199 w 8624"/>
                <a:gd name="connsiteY6" fmla="*/ 3764 h 4011"/>
                <a:gd name="connsiteX7" fmla="*/ 604 w 8624"/>
                <a:gd name="connsiteY7" fmla="*/ 3967 h 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24" h="4011">
                  <a:moveTo>
                    <a:pt x="604" y="3967"/>
                  </a:moveTo>
                  <a:cubicBezTo>
                    <a:pt x="751" y="4026"/>
                    <a:pt x="914" y="4026"/>
                    <a:pt x="1060" y="3967"/>
                  </a:cubicBezTo>
                  <a:cubicBezTo>
                    <a:pt x="3238" y="2811"/>
                    <a:pt x="5578" y="1991"/>
                    <a:pt x="8001" y="1535"/>
                  </a:cubicBezTo>
                  <a:cubicBezTo>
                    <a:pt x="8421" y="1451"/>
                    <a:pt x="8693" y="1043"/>
                    <a:pt x="8609" y="623"/>
                  </a:cubicBezTo>
                  <a:cubicBezTo>
                    <a:pt x="8525" y="203"/>
                    <a:pt x="8117" y="-69"/>
                    <a:pt x="7697" y="15"/>
                  </a:cubicBezTo>
                  <a:cubicBezTo>
                    <a:pt x="5072" y="509"/>
                    <a:pt x="2541" y="1416"/>
                    <a:pt x="199" y="2700"/>
                  </a:cubicBezTo>
                  <a:cubicBezTo>
                    <a:pt x="-66" y="3005"/>
                    <a:pt x="-66" y="3459"/>
                    <a:pt x="199" y="3764"/>
                  </a:cubicBezTo>
                  <a:cubicBezTo>
                    <a:pt x="314" y="3867"/>
                    <a:pt x="453" y="3937"/>
                    <a:pt x="604" y="3967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F5B1995-E99E-4EFB-8856-6CBF7FAADFA1}"/>
                </a:ext>
              </a:extLst>
            </p:cNvPr>
            <p:cNvSpPr/>
            <p:nvPr/>
          </p:nvSpPr>
          <p:spPr>
            <a:xfrm>
              <a:off x="-1898489" y="464715"/>
              <a:ext cx="9392" cy="3609"/>
            </a:xfrm>
            <a:custGeom>
              <a:avLst/>
              <a:gdLst>
                <a:gd name="connsiteX0" fmla="*/ 744 w 9392"/>
                <a:gd name="connsiteY0" fmla="*/ 3608 h 3609"/>
                <a:gd name="connsiteX1" fmla="*/ 1149 w 9392"/>
                <a:gd name="connsiteY1" fmla="*/ 3608 h 3609"/>
                <a:gd name="connsiteX2" fmla="*/ 8749 w 9392"/>
                <a:gd name="connsiteY2" fmla="*/ 1531 h 3609"/>
                <a:gd name="connsiteX3" fmla="*/ 9382 w 9392"/>
                <a:gd name="connsiteY3" fmla="*/ 644 h 3609"/>
                <a:gd name="connsiteX4" fmla="*/ 8496 w 9392"/>
                <a:gd name="connsiteY4" fmla="*/ 11 h 3609"/>
                <a:gd name="connsiteX5" fmla="*/ 389 w 9392"/>
                <a:gd name="connsiteY5" fmla="*/ 2240 h 3609"/>
                <a:gd name="connsiteX6" fmla="*/ 85 w 9392"/>
                <a:gd name="connsiteY6" fmla="*/ 3253 h 3609"/>
                <a:gd name="connsiteX7" fmla="*/ 744 w 9392"/>
                <a:gd name="connsiteY7" fmla="*/ 3608 h 3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92" h="3609">
                  <a:moveTo>
                    <a:pt x="744" y="3608"/>
                  </a:moveTo>
                  <a:lnTo>
                    <a:pt x="1149" y="3608"/>
                  </a:lnTo>
                  <a:cubicBezTo>
                    <a:pt x="3603" y="2651"/>
                    <a:pt x="6150" y="1955"/>
                    <a:pt x="8749" y="1531"/>
                  </a:cubicBezTo>
                  <a:cubicBezTo>
                    <a:pt x="9169" y="1461"/>
                    <a:pt x="9452" y="1064"/>
                    <a:pt x="9382" y="644"/>
                  </a:cubicBezTo>
                  <a:cubicBezTo>
                    <a:pt x="9312" y="224"/>
                    <a:pt x="8915" y="-59"/>
                    <a:pt x="8496" y="11"/>
                  </a:cubicBezTo>
                  <a:cubicBezTo>
                    <a:pt x="5728" y="488"/>
                    <a:pt x="3012" y="1234"/>
                    <a:pt x="389" y="2240"/>
                  </a:cubicBezTo>
                  <a:cubicBezTo>
                    <a:pt x="31" y="2440"/>
                    <a:pt x="-104" y="2889"/>
                    <a:pt x="85" y="3253"/>
                  </a:cubicBezTo>
                  <a:cubicBezTo>
                    <a:pt x="220" y="3487"/>
                    <a:pt x="475" y="3624"/>
                    <a:pt x="744" y="3608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A57513B-E3BB-40BE-BB44-B77B87A4A810}"/>
                </a:ext>
              </a:extLst>
            </p:cNvPr>
            <p:cNvSpPr/>
            <p:nvPr/>
          </p:nvSpPr>
          <p:spPr>
            <a:xfrm>
              <a:off x="-1920907" y="468874"/>
              <a:ext cx="9583" cy="1880"/>
            </a:xfrm>
            <a:custGeom>
              <a:avLst/>
              <a:gdLst>
                <a:gd name="connsiteX0" fmla="*/ 8824 w 9583"/>
                <a:gd name="connsiteY0" fmla="*/ 310 h 1880"/>
                <a:gd name="connsiteX1" fmla="*/ 8165 w 9583"/>
                <a:gd name="connsiteY1" fmla="*/ 310 h 1880"/>
                <a:gd name="connsiteX2" fmla="*/ 3454 w 9583"/>
                <a:gd name="connsiteY2" fmla="*/ 6 h 1880"/>
                <a:gd name="connsiteX3" fmla="*/ 3454 w 9583"/>
                <a:gd name="connsiteY3" fmla="*/ 6 h 1880"/>
                <a:gd name="connsiteX4" fmla="*/ 515 w 9583"/>
                <a:gd name="connsiteY4" fmla="*/ 411 h 1880"/>
                <a:gd name="connsiteX5" fmla="*/ 59 w 9583"/>
                <a:gd name="connsiteY5" fmla="*/ 715 h 1880"/>
                <a:gd name="connsiteX6" fmla="*/ 59 w 9583"/>
                <a:gd name="connsiteY6" fmla="*/ 1323 h 1880"/>
                <a:gd name="connsiteX7" fmla="*/ 769 w 9583"/>
                <a:gd name="connsiteY7" fmla="*/ 1880 h 1880"/>
                <a:gd name="connsiteX8" fmla="*/ 768 w 9583"/>
                <a:gd name="connsiteY8" fmla="*/ 1880 h 1880"/>
                <a:gd name="connsiteX9" fmla="*/ 8013 w 9583"/>
                <a:gd name="connsiteY9" fmla="*/ 1880 h 1880"/>
                <a:gd name="connsiteX10" fmla="*/ 8824 w 9583"/>
                <a:gd name="connsiteY10" fmla="*/ 1880 h 1880"/>
                <a:gd name="connsiteX11" fmla="*/ 9584 w 9583"/>
                <a:gd name="connsiteY11" fmla="*/ 1120 h 1880"/>
                <a:gd name="connsiteX12" fmla="*/ 8824 w 9583"/>
                <a:gd name="connsiteY12" fmla="*/ 360 h 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83" h="1880">
                  <a:moveTo>
                    <a:pt x="8824" y="310"/>
                  </a:moveTo>
                  <a:lnTo>
                    <a:pt x="8165" y="310"/>
                  </a:lnTo>
                  <a:cubicBezTo>
                    <a:pt x="6606" y="76"/>
                    <a:pt x="5030" y="-26"/>
                    <a:pt x="3454" y="6"/>
                  </a:cubicBezTo>
                  <a:lnTo>
                    <a:pt x="3454" y="6"/>
                  </a:lnTo>
                  <a:cubicBezTo>
                    <a:pt x="2462" y="34"/>
                    <a:pt x="1477" y="170"/>
                    <a:pt x="515" y="411"/>
                  </a:cubicBezTo>
                  <a:cubicBezTo>
                    <a:pt x="331" y="452"/>
                    <a:pt x="168" y="560"/>
                    <a:pt x="59" y="715"/>
                  </a:cubicBezTo>
                  <a:cubicBezTo>
                    <a:pt x="-20" y="910"/>
                    <a:pt x="-20" y="1128"/>
                    <a:pt x="59" y="1323"/>
                  </a:cubicBezTo>
                  <a:cubicBezTo>
                    <a:pt x="148" y="1644"/>
                    <a:pt x="435" y="1870"/>
                    <a:pt x="769" y="1880"/>
                  </a:cubicBezTo>
                  <a:lnTo>
                    <a:pt x="768" y="1880"/>
                  </a:lnTo>
                  <a:cubicBezTo>
                    <a:pt x="3166" y="1471"/>
                    <a:pt x="5616" y="1471"/>
                    <a:pt x="8013" y="1880"/>
                  </a:cubicBezTo>
                  <a:lnTo>
                    <a:pt x="8824" y="1880"/>
                  </a:lnTo>
                  <a:cubicBezTo>
                    <a:pt x="9244" y="1880"/>
                    <a:pt x="9584" y="1540"/>
                    <a:pt x="9584" y="1120"/>
                  </a:cubicBezTo>
                  <a:cubicBezTo>
                    <a:pt x="9584" y="701"/>
                    <a:pt x="9244" y="360"/>
                    <a:pt x="8824" y="360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D06A8C6-EAF6-4E8E-B38B-6EE1A7AC1771}"/>
                </a:ext>
              </a:extLst>
            </p:cNvPr>
            <p:cNvSpPr/>
            <p:nvPr/>
          </p:nvSpPr>
          <p:spPr>
            <a:xfrm>
              <a:off x="-1934325" y="469235"/>
              <a:ext cx="9581" cy="2330"/>
            </a:xfrm>
            <a:custGeom>
              <a:avLst/>
              <a:gdLst>
                <a:gd name="connsiteX0" fmla="*/ 9018 w 9581"/>
                <a:gd name="connsiteY0" fmla="*/ 760 h 2330"/>
                <a:gd name="connsiteX1" fmla="*/ 8562 w 9581"/>
                <a:gd name="connsiteY1" fmla="*/ 760 h 2330"/>
                <a:gd name="connsiteX2" fmla="*/ 760 w 9581"/>
                <a:gd name="connsiteY2" fmla="*/ 0 h 2330"/>
                <a:gd name="connsiteX3" fmla="*/ 0 w 9581"/>
                <a:gd name="connsiteY3" fmla="*/ 760 h 2330"/>
                <a:gd name="connsiteX4" fmla="*/ 760 w 9581"/>
                <a:gd name="connsiteY4" fmla="*/ 1520 h 2330"/>
                <a:gd name="connsiteX5" fmla="*/ 8765 w 9581"/>
                <a:gd name="connsiteY5" fmla="*/ 2331 h 2330"/>
                <a:gd name="connsiteX6" fmla="*/ 8765 w 9581"/>
                <a:gd name="connsiteY6" fmla="*/ 2331 h 2330"/>
                <a:gd name="connsiteX7" fmla="*/ 9525 w 9581"/>
                <a:gd name="connsiteY7" fmla="*/ 1672 h 2330"/>
                <a:gd name="connsiteX8" fmla="*/ 9525 w 9581"/>
                <a:gd name="connsiteY8" fmla="*/ 1115 h 2330"/>
                <a:gd name="connsiteX9" fmla="*/ 9018 w 9581"/>
                <a:gd name="connsiteY9" fmla="*/ 760 h 2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81" h="2330">
                  <a:moveTo>
                    <a:pt x="9018" y="760"/>
                  </a:moveTo>
                  <a:lnTo>
                    <a:pt x="8562" y="760"/>
                  </a:lnTo>
                  <a:cubicBezTo>
                    <a:pt x="5980" y="343"/>
                    <a:pt x="3374" y="89"/>
                    <a:pt x="760" y="0"/>
                  </a:cubicBezTo>
                  <a:cubicBezTo>
                    <a:pt x="340" y="0"/>
                    <a:pt x="0" y="340"/>
                    <a:pt x="0" y="760"/>
                  </a:cubicBezTo>
                  <a:cubicBezTo>
                    <a:pt x="0" y="1180"/>
                    <a:pt x="340" y="1520"/>
                    <a:pt x="760" y="1520"/>
                  </a:cubicBezTo>
                  <a:cubicBezTo>
                    <a:pt x="3442" y="1631"/>
                    <a:pt x="6115" y="1902"/>
                    <a:pt x="8765" y="2331"/>
                  </a:cubicBezTo>
                  <a:lnTo>
                    <a:pt x="8765" y="2331"/>
                  </a:lnTo>
                  <a:cubicBezTo>
                    <a:pt x="9148" y="2334"/>
                    <a:pt x="9474" y="2052"/>
                    <a:pt x="9525" y="1672"/>
                  </a:cubicBezTo>
                  <a:cubicBezTo>
                    <a:pt x="9601" y="1494"/>
                    <a:pt x="9601" y="1293"/>
                    <a:pt x="9525" y="1115"/>
                  </a:cubicBezTo>
                  <a:cubicBezTo>
                    <a:pt x="9395" y="949"/>
                    <a:pt x="9218" y="825"/>
                    <a:pt x="9018" y="760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D47D96D-B267-4E0B-BE20-1743B78C0B3C}"/>
                </a:ext>
              </a:extLst>
            </p:cNvPr>
            <p:cNvSpPr/>
            <p:nvPr/>
          </p:nvSpPr>
          <p:spPr>
            <a:xfrm>
              <a:off x="-1989802" y="304531"/>
              <a:ext cx="85116" cy="98622"/>
            </a:xfrm>
            <a:custGeom>
              <a:avLst/>
              <a:gdLst>
                <a:gd name="connsiteX0" fmla="*/ 43115 w 85116"/>
                <a:gd name="connsiteY0" fmla="*/ 146 h 98622"/>
                <a:gd name="connsiteX1" fmla="*/ 42254 w 85116"/>
                <a:gd name="connsiteY1" fmla="*/ 146 h 98622"/>
                <a:gd name="connsiteX2" fmla="*/ 41646 w 85116"/>
                <a:gd name="connsiteY2" fmla="*/ 551 h 98622"/>
                <a:gd name="connsiteX3" fmla="*/ 26447 w 85116"/>
                <a:gd name="connsiteY3" fmla="*/ 7492 h 98622"/>
                <a:gd name="connsiteX4" fmla="*/ 4458 w 85116"/>
                <a:gd name="connsiteY4" fmla="*/ 11849 h 98622"/>
                <a:gd name="connsiteX5" fmla="*/ 2280 w 85116"/>
                <a:gd name="connsiteY5" fmla="*/ 11849 h 98622"/>
                <a:gd name="connsiteX6" fmla="*/ 709 w 85116"/>
                <a:gd name="connsiteY6" fmla="*/ 11849 h 98622"/>
                <a:gd name="connsiteX7" fmla="*/ 0 w 85116"/>
                <a:gd name="connsiteY7" fmla="*/ 12609 h 98622"/>
                <a:gd name="connsiteX8" fmla="*/ 1520 w 85116"/>
                <a:gd name="connsiteY8" fmla="*/ 29278 h 98622"/>
                <a:gd name="connsiteX9" fmla="*/ 26092 w 85116"/>
                <a:gd name="connsiteY9" fmla="*/ 82881 h 98622"/>
                <a:gd name="connsiteX10" fmla="*/ 26650 w 85116"/>
                <a:gd name="connsiteY10" fmla="*/ 83489 h 98622"/>
                <a:gd name="connsiteX11" fmla="*/ 31716 w 85116"/>
                <a:gd name="connsiteY11" fmla="*/ 89011 h 98622"/>
                <a:gd name="connsiteX12" fmla="*/ 35972 w 85116"/>
                <a:gd name="connsiteY12" fmla="*/ 93216 h 98622"/>
                <a:gd name="connsiteX13" fmla="*/ 42102 w 85116"/>
                <a:gd name="connsiteY13" fmla="*/ 98587 h 98622"/>
                <a:gd name="connsiteX14" fmla="*/ 42609 w 85116"/>
                <a:gd name="connsiteY14" fmla="*/ 98587 h 98622"/>
                <a:gd name="connsiteX15" fmla="*/ 43065 w 85116"/>
                <a:gd name="connsiteY15" fmla="*/ 98587 h 98622"/>
                <a:gd name="connsiteX16" fmla="*/ 49195 w 85116"/>
                <a:gd name="connsiteY16" fmla="*/ 93216 h 98622"/>
                <a:gd name="connsiteX17" fmla="*/ 58517 w 85116"/>
                <a:gd name="connsiteY17" fmla="*/ 83489 h 98622"/>
                <a:gd name="connsiteX18" fmla="*/ 59024 w 85116"/>
                <a:gd name="connsiteY18" fmla="*/ 82881 h 98622"/>
                <a:gd name="connsiteX19" fmla="*/ 78074 w 85116"/>
                <a:gd name="connsiteY19" fmla="*/ 50405 h 98622"/>
                <a:gd name="connsiteX20" fmla="*/ 83596 w 85116"/>
                <a:gd name="connsiteY20" fmla="*/ 29278 h 98622"/>
                <a:gd name="connsiteX21" fmla="*/ 85116 w 85116"/>
                <a:gd name="connsiteY21" fmla="*/ 12609 h 98622"/>
                <a:gd name="connsiteX22" fmla="*/ 84407 w 85116"/>
                <a:gd name="connsiteY22" fmla="*/ 11849 h 98622"/>
                <a:gd name="connsiteX23" fmla="*/ 82887 w 85116"/>
                <a:gd name="connsiteY23" fmla="*/ 11849 h 98622"/>
                <a:gd name="connsiteX24" fmla="*/ 80708 w 85116"/>
                <a:gd name="connsiteY24" fmla="*/ 11849 h 98622"/>
                <a:gd name="connsiteX25" fmla="*/ 58669 w 85116"/>
                <a:gd name="connsiteY25" fmla="*/ 7492 h 98622"/>
                <a:gd name="connsiteX26" fmla="*/ 55325 w 85116"/>
                <a:gd name="connsiteY26" fmla="*/ 6327 h 98622"/>
                <a:gd name="connsiteX27" fmla="*/ 43723 w 85116"/>
                <a:gd name="connsiteY27" fmla="*/ 804 h 98622"/>
                <a:gd name="connsiteX28" fmla="*/ 58315 w 85116"/>
                <a:gd name="connsiteY28" fmla="*/ 8961 h 98622"/>
                <a:gd name="connsiteX29" fmla="*/ 58315 w 85116"/>
                <a:gd name="connsiteY29" fmla="*/ 8961 h 98622"/>
                <a:gd name="connsiteX30" fmla="*/ 58315 w 85116"/>
                <a:gd name="connsiteY30" fmla="*/ 81411 h 98622"/>
                <a:gd name="connsiteX31" fmla="*/ 57757 w 85116"/>
                <a:gd name="connsiteY31" fmla="*/ 82121 h 98622"/>
                <a:gd name="connsiteX32" fmla="*/ 57251 w 85116"/>
                <a:gd name="connsiteY32" fmla="*/ 82729 h 98622"/>
                <a:gd name="connsiteX33" fmla="*/ 50512 w 85116"/>
                <a:gd name="connsiteY33" fmla="*/ 89974 h 98622"/>
                <a:gd name="connsiteX34" fmla="*/ 48739 w 85116"/>
                <a:gd name="connsiteY34" fmla="*/ 91696 h 98622"/>
                <a:gd name="connsiteX35" fmla="*/ 42507 w 85116"/>
                <a:gd name="connsiteY35" fmla="*/ 97269 h 98622"/>
                <a:gd name="connsiteX36" fmla="*/ 36225 w 85116"/>
                <a:gd name="connsiteY36" fmla="*/ 91747 h 98622"/>
                <a:gd name="connsiteX37" fmla="*/ 32729 w 85116"/>
                <a:gd name="connsiteY37" fmla="*/ 88200 h 98622"/>
                <a:gd name="connsiteX38" fmla="*/ 27663 w 85116"/>
                <a:gd name="connsiteY38" fmla="*/ 82729 h 98622"/>
                <a:gd name="connsiteX39" fmla="*/ 27156 w 85116"/>
                <a:gd name="connsiteY39" fmla="*/ 82121 h 98622"/>
                <a:gd name="connsiteX40" fmla="*/ 26599 w 85116"/>
                <a:gd name="connsiteY40" fmla="*/ 81411 h 98622"/>
                <a:gd name="connsiteX41" fmla="*/ 26599 w 85116"/>
                <a:gd name="connsiteY41" fmla="*/ 9012 h 98622"/>
                <a:gd name="connsiteX42" fmla="*/ 26599 w 85116"/>
                <a:gd name="connsiteY42" fmla="*/ 9012 h 98622"/>
                <a:gd name="connsiteX43" fmla="*/ 41190 w 85116"/>
                <a:gd name="connsiteY43" fmla="*/ 2375 h 98622"/>
                <a:gd name="connsiteX44" fmla="*/ 42254 w 85116"/>
                <a:gd name="connsiteY44" fmla="*/ 1716 h 98622"/>
                <a:gd name="connsiteX45" fmla="*/ 43267 w 85116"/>
                <a:gd name="connsiteY45" fmla="*/ 2375 h 98622"/>
                <a:gd name="connsiteX46" fmla="*/ 54414 w 85116"/>
                <a:gd name="connsiteY46" fmla="*/ 7796 h 98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85116" h="98622">
                  <a:moveTo>
                    <a:pt x="43115" y="146"/>
                  </a:moveTo>
                  <a:cubicBezTo>
                    <a:pt x="42861" y="-49"/>
                    <a:pt x="42508" y="-49"/>
                    <a:pt x="42254" y="146"/>
                  </a:cubicBezTo>
                  <a:lnTo>
                    <a:pt x="41646" y="551"/>
                  </a:lnTo>
                  <a:cubicBezTo>
                    <a:pt x="36901" y="3511"/>
                    <a:pt x="31792" y="5844"/>
                    <a:pt x="26447" y="7492"/>
                  </a:cubicBezTo>
                  <a:cubicBezTo>
                    <a:pt x="19301" y="9753"/>
                    <a:pt x="11927" y="11214"/>
                    <a:pt x="4458" y="11849"/>
                  </a:cubicBezTo>
                  <a:lnTo>
                    <a:pt x="2280" y="11849"/>
                  </a:lnTo>
                  <a:lnTo>
                    <a:pt x="709" y="11849"/>
                  </a:lnTo>
                  <a:cubicBezTo>
                    <a:pt x="309" y="11876"/>
                    <a:pt x="-1" y="12208"/>
                    <a:pt x="0" y="12609"/>
                  </a:cubicBezTo>
                  <a:cubicBezTo>
                    <a:pt x="143" y="18193"/>
                    <a:pt x="651" y="23761"/>
                    <a:pt x="1520" y="29278"/>
                  </a:cubicBezTo>
                  <a:cubicBezTo>
                    <a:pt x="4662" y="49054"/>
                    <a:pt x="13160" y="67592"/>
                    <a:pt x="26092" y="82881"/>
                  </a:cubicBezTo>
                  <a:lnTo>
                    <a:pt x="26650" y="83489"/>
                  </a:lnTo>
                  <a:cubicBezTo>
                    <a:pt x="28220" y="85363"/>
                    <a:pt x="29943" y="87238"/>
                    <a:pt x="31716" y="89011"/>
                  </a:cubicBezTo>
                  <a:cubicBezTo>
                    <a:pt x="33489" y="90784"/>
                    <a:pt x="34502" y="91848"/>
                    <a:pt x="35972" y="93216"/>
                  </a:cubicBezTo>
                  <a:cubicBezTo>
                    <a:pt x="37441" y="94584"/>
                    <a:pt x="39974" y="96864"/>
                    <a:pt x="42102" y="98587"/>
                  </a:cubicBezTo>
                  <a:cubicBezTo>
                    <a:pt x="42268" y="98635"/>
                    <a:pt x="42443" y="98635"/>
                    <a:pt x="42609" y="98587"/>
                  </a:cubicBezTo>
                  <a:cubicBezTo>
                    <a:pt x="42758" y="98625"/>
                    <a:pt x="42915" y="98625"/>
                    <a:pt x="43065" y="98587"/>
                  </a:cubicBezTo>
                  <a:cubicBezTo>
                    <a:pt x="45193" y="96864"/>
                    <a:pt x="47219" y="95040"/>
                    <a:pt x="49195" y="93216"/>
                  </a:cubicBezTo>
                  <a:cubicBezTo>
                    <a:pt x="52482" y="90151"/>
                    <a:pt x="55594" y="86903"/>
                    <a:pt x="58517" y="83489"/>
                  </a:cubicBezTo>
                  <a:lnTo>
                    <a:pt x="59024" y="82881"/>
                  </a:lnTo>
                  <a:cubicBezTo>
                    <a:pt x="67184" y="73224"/>
                    <a:pt x="73628" y="62240"/>
                    <a:pt x="78074" y="50405"/>
                  </a:cubicBezTo>
                  <a:cubicBezTo>
                    <a:pt x="80566" y="43549"/>
                    <a:pt x="82414" y="36476"/>
                    <a:pt x="83596" y="29278"/>
                  </a:cubicBezTo>
                  <a:cubicBezTo>
                    <a:pt x="84466" y="23761"/>
                    <a:pt x="84973" y="18193"/>
                    <a:pt x="85116" y="12609"/>
                  </a:cubicBezTo>
                  <a:cubicBezTo>
                    <a:pt x="85117" y="12208"/>
                    <a:pt x="84807" y="11876"/>
                    <a:pt x="84407" y="11849"/>
                  </a:cubicBezTo>
                  <a:lnTo>
                    <a:pt x="82887" y="11849"/>
                  </a:lnTo>
                  <a:lnTo>
                    <a:pt x="80708" y="11849"/>
                  </a:lnTo>
                  <a:cubicBezTo>
                    <a:pt x="73223" y="11218"/>
                    <a:pt x="65831" y="9757"/>
                    <a:pt x="58669" y="7492"/>
                  </a:cubicBezTo>
                  <a:lnTo>
                    <a:pt x="55325" y="6327"/>
                  </a:lnTo>
                  <a:cubicBezTo>
                    <a:pt x="51282" y="4880"/>
                    <a:pt x="47395" y="3030"/>
                    <a:pt x="43723" y="804"/>
                  </a:cubicBezTo>
                  <a:close/>
                  <a:moveTo>
                    <a:pt x="58315" y="8961"/>
                  </a:moveTo>
                  <a:lnTo>
                    <a:pt x="58315" y="8961"/>
                  </a:lnTo>
                  <a:lnTo>
                    <a:pt x="58315" y="81411"/>
                  </a:lnTo>
                  <a:lnTo>
                    <a:pt x="57757" y="82121"/>
                  </a:lnTo>
                  <a:lnTo>
                    <a:pt x="57251" y="82729"/>
                  </a:lnTo>
                  <a:cubicBezTo>
                    <a:pt x="55123" y="85211"/>
                    <a:pt x="52894" y="87795"/>
                    <a:pt x="50512" y="89974"/>
                  </a:cubicBezTo>
                  <a:cubicBezTo>
                    <a:pt x="49955" y="90582"/>
                    <a:pt x="49347" y="91139"/>
                    <a:pt x="48739" y="91696"/>
                  </a:cubicBezTo>
                  <a:cubicBezTo>
                    <a:pt x="46713" y="93622"/>
                    <a:pt x="44635" y="95496"/>
                    <a:pt x="42507" y="97269"/>
                  </a:cubicBezTo>
                  <a:cubicBezTo>
                    <a:pt x="40329" y="95496"/>
                    <a:pt x="38252" y="93622"/>
                    <a:pt x="36225" y="91747"/>
                  </a:cubicBezTo>
                  <a:cubicBezTo>
                    <a:pt x="35060" y="90582"/>
                    <a:pt x="33844" y="89416"/>
                    <a:pt x="32729" y="88200"/>
                  </a:cubicBezTo>
                  <a:cubicBezTo>
                    <a:pt x="31615" y="86985"/>
                    <a:pt x="29284" y="84603"/>
                    <a:pt x="27663" y="82729"/>
                  </a:cubicBezTo>
                  <a:lnTo>
                    <a:pt x="27156" y="82121"/>
                  </a:lnTo>
                  <a:lnTo>
                    <a:pt x="26599" y="81411"/>
                  </a:lnTo>
                  <a:lnTo>
                    <a:pt x="26599" y="9012"/>
                  </a:lnTo>
                  <a:lnTo>
                    <a:pt x="26599" y="9012"/>
                  </a:lnTo>
                  <a:cubicBezTo>
                    <a:pt x="31704" y="7374"/>
                    <a:pt x="36601" y="5147"/>
                    <a:pt x="41190" y="2375"/>
                  </a:cubicBezTo>
                  <a:lnTo>
                    <a:pt x="42254" y="1716"/>
                  </a:lnTo>
                  <a:lnTo>
                    <a:pt x="43267" y="2375"/>
                  </a:lnTo>
                  <a:cubicBezTo>
                    <a:pt x="46803" y="4530"/>
                    <a:pt x="50535" y="6345"/>
                    <a:pt x="54414" y="7796"/>
                  </a:cubicBezTo>
                  <a:close/>
                </a:path>
              </a:pathLst>
            </a:custGeom>
            <a:solidFill>
              <a:srgbClr val="BF920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Graphic 12764">
            <a:extLst>
              <a:ext uri="{FF2B5EF4-FFF2-40B4-BE49-F238E27FC236}">
                <a16:creationId xmlns:a16="http://schemas.microsoft.com/office/drawing/2014/main" id="{FADCD55B-2834-4CA0-94E7-9A393D29F08B}"/>
              </a:ext>
            </a:extLst>
          </p:cNvPr>
          <p:cNvGrpSpPr/>
          <p:nvPr/>
        </p:nvGrpSpPr>
        <p:grpSpPr>
          <a:xfrm>
            <a:off x="9463908" y="3773002"/>
            <a:ext cx="1189493" cy="1189493"/>
            <a:chOff x="5673092" y="24847608"/>
            <a:chExt cx="1032603" cy="1031856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2E32562-1066-489B-8DD3-C0BD57B99C57}"/>
                </a:ext>
              </a:extLst>
            </p:cNvPr>
            <p:cNvSpPr/>
            <p:nvPr/>
          </p:nvSpPr>
          <p:spPr>
            <a:xfrm>
              <a:off x="5702617" y="24847608"/>
              <a:ext cx="973550" cy="343717"/>
            </a:xfrm>
            <a:custGeom>
              <a:avLst/>
              <a:gdLst>
                <a:gd name="connsiteX0" fmla="*/ 973550 w 973550"/>
                <a:gd name="connsiteY0" fmla="*/ 343717 h 343717"/>
                <a:gd name="connsiteX1" fmla="*/ 0 w 973550"/>
                <a:gd name="connsiteY1" fmla="*/ 343717 h 343717"/>
                <a:gd name="connsiteX2" fmla="*/ 659198 w 973550"/>
                <a:gd name="connsiteY2" fmla="*/ 29876 h 343717"/>
                <a:gd name="connsiteX3" fmla="*/ 933450 w 973550"/>
                <a:gd name="connsiteY3" fmla="*/ 257992 h 343717"/>
                <a:gd name="connsiteX4" fmla="*/ 973550 w 973550"/>
                <a:gd name="connsiteY4" fmla="*/ 343717 h 343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3550" h="343717">
                  <a:moveTo>
                    <a:pt x="973550" y="343717"/>
                  </a:moveTo>
                  <a:lnTo>
                    <a:pt x="0" y="343717"/>
                  </a:lnTo>
                  <a:cubicBezTo>
                    <a:pt x="95368" y="75020"/>
                    <a:pt x="390501" y="-65492"/>
                    <a:pt x="659198" y="29876"/>
                  </a:cubicBezTo>
                  <a:cubicBezTo>
                    <a:pt x="774817" y="70912"/>
                    <a:pt x="872042" y="151782"/>
                    <a:pt x="933450" y="257992"/>
                  </a:cubicBezTo>
                  <a:cubicBezTo>
                    <a:pt x="949433" y="285269"/>
                    <a:pt x="962857" y="313966"/>
                    <a:pt x="973550" y="343717"/>
                  </a:cubicBezTo>
                  <a:close/>
                </a:path>
              </a:pathLst>
            </a:custGeom>
            <a:solidFill>
              <a:srgbClr val="CD122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59794A8-0B85-4503-AF44-0E4A6A70E161}"/>
                </a:ext>
              </a:extLst>
            </p:cNvPr>
            <p:cNvSpPr/>
            <p:nvPr/>
          </p:nvSpPr>
          <p:spPr>
            <a:xfrm>
              <a:off x="5702617" y="25535463"/>
              <a:ext cx="973550" cy="344000"/>
            </a:xfrm>
            <a:custGeom>
              <a:avLst/>
              <a:gdLst>
                <a:gd name="connsiteX0" fmla="*/ 973550 w 973550"/>
                <a:gd name="connsiteY0" fmla="*/ 0 h 344000"/>
                <a:gd name="connsiteX1" fmla="*/ 933736 w 973550"/>
                <a:gd name="connsiteY1" fmla="*/ 85725 h 344000"/>
                <a:gd name="connsiteX2" fmla="*/ 228995 w 973550"/>
                <a:gd name="connsiteY2" fmla="*/ 274906 h 344000"/>
                <a:gd name="connsiteX3" fmla="*/ 39815 w 973550"/>
                <a:gd name="connsiteY3" fmla="*/ 85725 h 344000"/>
                <a:gd name="connsiteX4" fmla="*/ 0 w 973550"/>
                <a:gd name="connsiteY4" fmla="*/ 0 h 3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3550" h="344000">
                  <a:moveTo>
                    <a:pt x="973550" y="0"/>
                  </a:moveTo>
                  <a:cubicBezTo>
                    <a:pt x="962954" y="29743"/>
                    <a:pt x="949625" y="58440"/>
                    <a:pt x="933736" y="85725"/>
                  </a:cubicBezTo>
                  <a:cubicBezTo>
                    <a:pt x="791368" y="332575"/>
                    <a:pt x="475845" y="417274"/>
                    <a:pt x="228995" y="274906"/>
                  </a:cubicBezTo>
                  <a:cubicBezTo>
                    <a:pt x="150398" y="229576"/>
                    <a:pt x="85144" y="164322"/>
                    <a:pt x="39815" y="85725"/>
                  </a:cubicBezTo>
                  <a:cubicBezTo>
                    <a:pt x="23925" y="58440"/>
                    <a:pt x="10597" y="29743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2CCC180-4E56-43F3-A06E-925F2BC5CA11}"/>
                </a:ext>
              </a:extLst>
            </p:cNvPr>
            <p:cNvSpPr/>
            <p:nvPr/>
          </p:nvSpPr>
          <p:spPr>
            <a:xfrm>
              <a:off x="5673092" y="25191325"/>
              <a:ext cx="1032603" cy="344138"/>
            </a:xfrm>
            <a:custGeom>
              <a:avLst/>
              <a:gdLst>
                <a:gd name="connsiteX0" fmla="*/ 1032603 w 1032603"/>
                <a:gd name="connsiteY0" fmla="*/ 172117 h 344138"/>
                <a:gd name="connsiteX1" fmla="*/ 1003076 w 1032603"/>
                <a:gd name="connsiteY1" fmla="*/ 344138 h 344138"/>
                <a:gd name="connsiteX2" fmla="*/ 29525 w 1032603"/>
                <a:gd name="connsiteY2" fmla="*/ 344138 h 344138"/>
                <a:gd name="connsiteX3" fmla="*/ 29525 w 1032603"/>
                <a:gd name="connsiteY3" fmla="*/ 0 h 344138"/>
                <a:gd name="connsiteX4" fmla="*/ 1003076 w 1032603"/>
                <a:gd name="connsiteY4" fmla="*/ 0 h 344138"/>
                <a:gd name="connsiteX5" fmla="*/ 1032603 w 1032603"/>
                <a:gd name="connsiteY5" fmla="*/ 172117 h 344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2603" h="344138">
                  <a:moveTo>
                    <a:pt x="1032603" y="172117"/>
                  </a:moveTo>
                  <a:cubicBezTo>
                    <a:pt x="1032644" y="230722"/>
                    <a:pt x="1022657" y="288901"/>
                    <a:pt x="1003076" y="344138"/>
                  </a:cubicBezTo>
                  <a:lnTo>
                    <a:pt x="29525" y="344138"/>
                  </a:lnTo>
                  <a:cubicBezTo>
                    <a:pt x="-9842" y="232803"/>
                    <a:pt x="-9842" y="111335"/>
                    <a:pt x="29525" y="0"/>
                  </a:cubicBezTo>
                  <a:lnTo>
                    <a:pt x="1003076" y="0"/>
                  </a:lnTo>
                  <a:cubicBezTo>
                    <a:pt x="1022657" y="55270"/>
                    <a:pt x="1032643" y="113481"/>
                    <a:pt x="1032603" y="17211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08C900B4-8990-4CE4-95CB-6C6F97A445F2}"/>
                </a:ext>
              </a:extLst>
            </p:cNvPr>
            <p:cNvSpPr/>
            <p:nvPr/>
          </p:nvSpPr>
          <p:spPr>
            <a:xfrm>
              <a:off x="6105546" y="25483586"/>
              <a:ext cx="23600" cy="20639"/>
            </a:xfrm>
            <a:custGeom>
              <a:avLst/>
              <a:gdLst>
                <a:gd name="connsiteX0" fmla="*/ 23600 w 23600"/>
                <a:gd name="connsiteY0" fmla="*/ 12158 h 20639"/>
                <a:gd name="connsiteX1" fmla="*/ 22267 w 23600"/>
                <a:gd name="connsiteY1" fmla="*/ 12158 h 20639"/>
                <a:gd name="connsiteX2" fmla="*/ 20171 w 23600"/>
                <a:gd name="connsiteY2" fmla="*/ 12825 h 20639"/>
                <a:gd name="connsiteX3" fmla="*/ 19314 w 23600"/>
                <a:gd name="connsiteY3" fmla="*/ 14444 h 20639"/>
                <a:gd name="connsiteX4" fmla="*/ 20743 w 23600"/>
                <a:gd name="connsiteY4" fmla="*/ 15396 h 20639"/>
                <a:gd name="connsiteX5" fmla="*/ 19695 w 23600"/>
                <a:gd name="connsiteY5" fmla="*/ 19111 h 20639"/>
                <a:gd name="connsiteX6" fmla="*/ 14170 w 23600"/>
                <a:gd name="connsiteY6" fmla="*/ 17587 h 20639"/>
                <a:gd name="connsiteX7" fmla="*/ 16266 w 23600"/>
                <a:gd name="connsiteY7" fmla="*/ 11586 h 20639"/>
                <a:gd name="connsiteX8" fmla="*/ 15367 w 23600"/>
                <a:gd name="connsiteY8" fmla="*/ 9776 h 20639"/>
                <a:gd name="connsiteX9" fmla="*/ 14456 w 23600"/>
                <a:gd name="connsiteY9" fmla="*/ 9776 h 20639"/>
                <a:gd name="connsiteX10" fmla="*/ 12551 w 23600"/>
                <a:gd name="connsiteY10" fmla="*/ 10348 h 20639"/>
                <a:gd name="connsiteX11" fmla="*/ 11588 w 23600"/>
                <a:gd name="connsiteY11" fmla="*/ 12124 h 20639"/>
                <a:gd name="connsiteX12" fmla="*/ 11599 w 23600"/>
                <a:gd name="connsiteY12" fmla="*/ 12158 h 20639"/>
                <a:gd name="connsiteX13" fmla="*/ 12742 w 23600"/>
                <a:gd name="connsiteY13" fmla="*/ 13015 h 20639"/>
                <a:gd name="connsiteX14" fmla="*/ 11599 w 23600"/>
                <a:gd name="connsiteY14" fmla="*/ 16920 h 20639"/>
                <a:gd name="connsiteX15" fmla="*/ 7789 w 23600"/>
                <a:gd name="connsiteY15" fmla="*/ 15873 h 20639"/>
                <a:gd name="connsiteX16" fmla="*/ 11789 w 23600"/>
                <a:gd name="connsiteY16" fmla="*/ 1775 h 20639"/>
                <a:gd name="connsiteX17" fmla="*/ 11232 w 23600"/>
                <a:gd name="connsiteY17" fmla="*/ 258 h 20639"/>
                <a:gd name="connsiteX18" fmla="*/ 11218 w 23600"/>
                <a:gd name="connsiteY18" fmla="*/ 252 h 20639"/>
                <a:gd name="connsiteX19" fmla="*/ 9598 w 23600"/>
                <a:gd name="connsiteY19" fmla="*/ 252 h 20639"/>
                <a:gd name="connsiteX20" fmla="*/ 4836 w 23600"/>
                <a:gd name="connsiteY20" fmla="*/ 252 h 20639"/>
                <a:gd name="connsiteX21" fmla="*/ 3408 w 23600"/>
                <a:gd name="connsiteY21" fmla="*/ 1483 h 20639"/>
                <a:gd name="connsiteX22" fmla="*/ 3407 w 23600"/>
                <a:gd name="connsiteY22" fmla="*/ 1490 h 20639"/>
                <a:gd name="connsiteX23" fmla="*/ 4534 w 23600"/>
                <a:gd name="connsiteY23" fmla="*/ 3002 h 20639"/>
                <a:gd name="connsiteX24" fmla="*/ 4645 w 23600"/>
                <a:gd name="connsiteY24" fmla="*/ 3014 h 20639"/>
                <a:gd name="connsiteX25" fmla="*/ 8455 w 23600"/>
                <a:gd name="connsiteY25" fmla="*/ 3014 h 20639"/>
                <a:gd name="connsiteX26" fmla="*/ 6455 w 23600"/>
                <a:gd name="connsiteY26" fmla="*/ 9491 h 20639"/>
                <a:gd name="connsiteX27" fmla="*/ 73 w 23600"/>
                <a:gd name="connsiteY27" fmla="*/ 13586 h 20639"/>
                <a:gd name="connsiteX28" fmla="*/ 73 w 23600"/>
                <a:gd name="connsiteY28" fmla="*/ 14634 h 20639"/>
                <a:gd name="connsiteX29" fmla="*/ 931 w 23600"/>
                <a:gd name="connsiteY29" fmla="*/ 15491 h 20639"/>
                <a:gd name="connsiteX30" fmla="*/ 5598 w 23600"/>
                <a:gd name="connsiteY30" fmla="*/ 17015 h 20639"/>
                <a:gd name="connsiteX31" fmla="*/ 5598 w 23600"/>
                <a:gd name="connsiteY31" fmla="*/ 17015 h 20639"/>
                <a:gd name="connsiteX32" fmla="*/ 11503 w 23600"/>
                <a:gd name="connsiteY32" fmla="*/ 18540 h 20639"/>
                <a:gd name="connsiteX33" fmla="*/ 11980 w 23600"/>
                <a:gd name="connsiteY33" fmla="*/ 18540 h 20639"/>
                <a:gd name="connsiteX34" fmla="*/ 12551 w 23600"/>
                <a:gd name="connsiteY34" fmla="*/ 18540 h 20639"/>
                <a:gd name="connsiteX35" fmla="*/ 20171 w 23600"/>
                <a:gd name="connsiteY35" fmla="*/ 20635 h 20639"/>
                <a:gd name="connsiteX36" fmla="*/ 20171 w 23600"/>
                <a:gd name="connsiteY36" fmla="*/ 20635 h 20639"/>
                <a:gd name="connsiteX37" fmla="*/ 21505 w 23600"/>
                <a:gd name="connsiteY37" fmla="*/ 19587 h 20639"/>
                <a:gd name="connsiteX38" fmla="*/ 23505 w 23600"/>
                <a:gd name="connsiteY38" fmla="*/ 12348 h 20639"/>
                <a:gd name="connsiteX39" fmla="*/ 23600 w 23600"/>
                <a:gd name="connsiteY39" fmla="*/ 12158 h 20639"/>
                <a:gd name="connsiteX40" fmla="*/ 5693 w 23600"/>
                <a:gd name="connsiteY40" fmla="*/ 14825 h 20639"/>
                <a:gd name="connsiteX41" fmla="*/ 4074 w 23600"/>
                <a:gd name="connsiteY41" fmla="*/ 14253 h 20639"/>
                <a:gd name="connsiteX42" fmla="*/ 5693 w 23600"/>
                <a:gd name="connsiteY42" fmla="*/ 13205 h 2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3600" h="20639">
                  <a:moveTo>
                    <a:pt x="23600" y="12158"/>
                  </a:moveTo>
                  <a:cubicBezTo>
                    <a:pt x="23600" y="12158"/>
                    <a:pt x="22743" y="12158"/>
                    <a:pt x="22267" y="12158"/>
                  </a:cubicBezTo>
                  <a:lnTo>
                    <a:pt x="20171" y="12825"/>
                  </a:lnTo>
                  <a:cubicBezTo>
                    <a:pt x="19501" y="13051"/>
                    <a:pt x="19125" y="13762"/>
                    <a:pt x="19314" y="14444"/>
                  </a:cubicBezTo>
                  <a:cubicBezTo>
                    <a:pt x="19525" y="15044"/>
                    <a:pt x="20107" y="15432"/>
                    <a:pt x="20743" y="15396"/>
                  </a:cubicBezTo>
                  <a:lnTo>
                    <a:pt x="19695" y="19111"/>
                  </a:lnTo>
                  <a:lnTo>
                    <a:pt x="14170" y="17587"/>
                  </a:lnTo>
                  <a:lnTo>
                    <a:pt x="16266" y="11586"/>
                  </a:lnTo>
                  <a:cubicBezTo>
                    <a:pt x="16518" y="10838"/>
                    <a:pt x="16115" y="10028"/>
                    <a:pt x="15367" y="9776"/>
                  </a:cubicBezTo>
                  <a:cubicBezTo>
                    <a:pt x="15072" y="9677"/>
                    <a:pt x="14752" y="9677"/>
                    <a:pt x="14456" y="9776"/>
                  </a:cubicBezTo>
                  <a:lnTo>
                    <a:pt x="12551" y="10348"/>
                  </a:lnTo>
                  <a:cubicBezTo>
                    <a:pt x="11795" y="10573"/>
                    <a:pt x="11364" y="11368"/>
                    <a:pt x="11588" y="12124"/>
                  </a:cubicBezTo>
                  <a:cubicBezTo>
                    <a:pt x="11592" y="12136"/>
                    <a:pt x="11595" y="12147"/>
                    <a:pt x="11599" y="12158"/>
                  </a:cubicBezTo>
                  <a:cubicBezTo>
                    <a:pt x="11732" y="12676"/>
                    <a:pt x="12207" y="13032"/>
                    <a:pt x="12742" y="13015"/>
                  </a:cubicBezTo>
                  <a:lnTo>
                    <a:pt x="11599" y="16920"/>
                  </a:lnTo>
                  <a:lnTo>
                    <a:pt x="7789" y="15873"/>
                  </a:lnTo>
                  <a:lnTo>
                    <a:pt x="11789" y="1775"/>
                  </a:lnTo>
                  <a:cubicBezTo>
                    <a:pt x="12054" y="1203"/>
                    <a:pt x="11805" y="523"/>
                    <a:pt x="11232" y="258"/>
                  </a:cubicBezTo>
                  <a:cubicBezTo>
                    <a:pt x="11227" y="256"/>
                    <a:pt x="11222" y="254"/>
                    <a:pt x="11218" y="252"/>
                  </a:cubicBezTo>
                  <a:cubicBezTo>
                    <a:pt x="10730" y="-84"/>
                    <a:pt x="10086" y="-84"/>
                    <a:pt x="9598" y="252"/>
                  </a:cubicBezTo>
                  <a:cubicBezTo>
                    <a:pt x="8037" y="655"/>
                    <a:pt x="6398" y="655"/>
                    <a:pt x="4836" y="252"/>
                  </a:cubicBezTo>
                  <a:cubicBezTo>
                    <a:pt x="4101" y="197"/>
                    <a:pt x="3462" y="749"/>
                    <a:pt x="3408" y="1483"/>
                  </a:cubicBezTo>
                  <a:cubicBezTo>
                    <a:pt x="3407" y="1485"/>
                    <a:pt x="3407" y="1488"/>
                    <a:pt x="3407" y="1490"/>
                  </a:cubicBezTo>
                  <a:cubicBezTo>
                    <a:pt x="3301" y="2218"/>
                    <a:pt x="3805" y="2896"/>
                    <a:pt x="4534" y="3002"/>
                  </a:cubicBezTo>
                  <a:cubicBezTo>
                    <a:pt x="4571" y="3008"/>
                    <a:pt x="4608" y="3011"/>
                    <a:pt x="4645" y="3014"/>
                  </a:cubicBezTo>
                  <a:cubicBezTo>
                    <a:pt x="5914" y="3098"/>
                    <a:pt x="7187" y="3098"/>
                    <a:pt x="8455" y="3014"/>
                  </a:cubicBezTo>
                  <a:lnTo>
                    <a:pt x="6455" y="9491"/>
                  </a:lnTo>
                  <a:cubicBezTo>
                    <a:pt x="3751" y="9625"/>
                    <a:pt x="1322" y="11185"/>
                    <a:pt x="73" y="13586"/>
                  </a:cubicBezTo>
                  <a:cubicBezTo>
                    <a:pt x="-24" y="13929"/>
                    <a:pt x="-24" y="14292"/>
                    <a:pt x="73" y="14634"/>
                  </a:cubicBezTo>
                  <a:cubicBezTo>
                    <a:pt x="228" y="15026"/>
                    <a:pt x="539" y="15337"/>
                    <a:pt x="931" y="15491"/>
                  </a:cubicBezTo>
                  <a:lnTo>
                    <a:pt x="5598" y="17015"/>
                  </a:lnTo>
                  <a:lnTo>
                    <a:pt x="5598" y="17015"/>
                  </a:lnTo>
                  <a:lnTo>
                    <a:pt x="11503" y="18540"/>
                  </a:lnTo>
                  <a:lnTo>
                    <a:pt x="11980" y="18540"/>
                  </a:lnTo>
                  <a:lnTo>
                    <a:pt x="12551" y="18540"/>
                  </a:lnTo>
                  <a:lnTo>
                    <a:pt x="20171" y="20635"/>
                  </a:lnTo>
                  <a:lnTo>
                    <a:pt x="20171" y="20635"/>
                  </a:lnTo>
                  <a:cubicBezTo>
                    <a:pt x="20823" y="20693"/>
                    <a:pt x="21407" y="20234"/>
                    <a:pt x="21505" y="19587"/>
                  </a:cubicBezTo>
                  <a:lnTo>
                    <a:pt x="23505" y="12348"/>
                  </a:lnTo>
                  <a:cubicBezTo>
                    <a:pt x="23541" y="12287"/>
                    <a:pt x="23573" y="12223"/>
                    <a:pt x="23600" y="12158"/>
                  </a:cubicBezTo>
                  <a:close/>
                  <a:moveTo>
                    <a:pt x="5693" y="14825"/>
                  </a:moveTo>
                  <a:lnTo>
                    <a:pt x="4074" y="14253"/>
                  </a:lnTo>
                  <a:cubicBezTo>
                    <a:pt x="4502" y="13756"/>
                    <a:pt x="5064" y="13393"/>
                    <a:pt x="5693" y="13205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5070A20-995A-4F8B-BE45-F8724078C3EC}"/>
                </a:ext>
              </a:extLst>
            </p:cNvPr>
            <p:cNvSpPr/>
            <p:nvPr/>
          </p:nvSpPr>
          <p:spPr>
            <a:xfrm>
              <a:off x="6126174" y="25491868"/>
              <a:ext cx="31513" cy="20704"/>
            </a:xfrm>
            <a:custGeom>
              <a:avLst/>
              <a:gdLst>
                <a:gd name="connsiteX0" fmla="*/ 31072 w 31513"/>
                <a:gd name="connsiteY0" fmla="*/ 447 h 20704"/>
                <a:gd name="connsiteX1" fmla="*/ 29328 w 31513"/>
                <a:gd name="connsiteY1" fmla="*/ 286 h 20704"/>
                <a:gd name="connsiteX2" fmla="*/ 29166 w 31513"/>
                <a:gd name="connsiteY2" fmla="*/ 447 h 20704"/>
                <a:gd name="connsiteX3" fmla="*/ 28119 w 31513"/>
                <a:gd name="connsiteY3" fmla="*/ 1304 h 20704"/>
                <a:gd name="connsiteX4" fmla="*/ 28119 w 31513"/>
                <a:gd name="connsiteY4" fmla="*/ 2257 h 20704"/>
                <a:gd name="connsiteX5" fmla="*/ 28119 w 31513"/>
                <a:gd name="connsiteY5" fmla="*/ 8258 h 20704"/>
                <a:gd name="connsiteX6" fmla="*/ 25928 w 31513"/>
                <a:gd name="connsiteY6" fmla="*/ 18640 h 20704"/>
                <a:gd name="connsiteX7" fmla="*/ 24880 w 31513"/>
                <a:gd name="connsiteY7" fmla="*/ 18640 h 20704"/>
                <a:gd name="connsiteX8" fmla="*/ 24880 w 31513"/>
                <a:gd name="connsiteY8" fmla="*/ 16259 h 20704"/>
                <a:gd name="connsiteX9" fmla="*/ 24880 w 31513"/>
                <a:gd name="connsiteY9" fmla="*/ 15592 h 20704"/>
                <a:gd name="connsiteX10" fmla="*/ 22023 w 31513"/>
                <a:gd name="connsiteY10" fmla="*/ 13973 h 20704"/>
                <a:gd name="connsiteX11" fmla="*/ 22023 w 31513"/>
                <a:gd name="connsiteY11" fmla="*/ 13973 h 20704"/>
                <a:gd name="connsiteX12" fmla="*/ 21165 w 31513"/>
                <a:gd name="connsiteY12" fmla="*/ 11972 h 20704"/>
                <a:gd name="connsiteX13" fmla="*/ 24404 w 31513"/>
                <a:gd name="connsiteY13" fmla="*/ 11020 h 20704"/>
                <a:gd name="connsiteX14" fmla="*/ 25129 w 31513"/>
                <a:gd name="connsiteY14" fmla="*/ 8990 h 20704"/>
                <a:gd name="connsiteX15" fmla="*/ 24976 w 31513"/>
                <a:gd name="connsiteY15" fmla="*/ 8734 h 20704"/>
                <a:gd name="connsiteX16" fmla="*/ 22975 w 31513"/>
                <a:gd name="connsiteY16" fmla="*/ 6543 h 20704"/>
                <a:gd name="connsiteX17" fmla="*/ 20689 w 31513"/>
                <a:gd name="connsiteY17" fmla="*/ 3686 h 20704"/>
                <a:gd name="connsiteX18" fmla="*/ 19832 w 31513"/>
                <a:gd name="connsiteY18" fmla="*/ 3019 h 20704"/>
                <a:gd name="connsiteX19" fmla="*/ 18784 w 31513"/>
                <a:gd name="connsiteY19" fmla="*/ 3019 h 20704"/>
                <a:gd name="connsiteX20" fmla="*/ 17260 w 31513"/>
                <a:gd name="connsiteY20" fmla="*/ 4448 h 20704"/>
                <a:gd name="connsiteX21" fmla="*/ 13927 w 31513"/>
                <a:gd name="connsiteY21" fmla="*/ 6448 h 20704"/>
                <a:gd name="connsiteX22" fmla="*/ 13164 w 31513"/>
                <a:gd name="connsiteY22" fmla="*/ 7496 h 20704"/>
                <a:gd name="connsiteX23" fmla="*/ 13164 w 31513"/>
                <a:gd name="connsiteY23" fmla="*/ 8639 h 20704"/>
                <a:gd name="connsiteX24" fmla="*/ 16117 w 31513"/>
                <a:gd name="connsiteY24" fmla="*/ 11020 h 20704"/>
                <a:gd name="connsiteX25" fmla="*/ 14022 w 31513"/>
                <a:gd name="connsiteY25" fmla="*/ 12449 h 20704"/>
                <a:gd name="connsiteX26" fmla="*/ 8974 w 31513"/>
                <a:gd name="connsiteY26" fmla="*/ 11782 h 20704"/>
                <a:gd name="connsiteX27" fmla="*/ 8211 w 31513"/>
                <a:gd name="connsiteY27" fmla="*/ 6734 h 20704"/>
                <a:gd name="connsiteX28" fmla="*/ 6306 w 31513"/>
                <a:gd name="connsiteY28" fmla="*/ 6162 h 20704"/>
                <a:gd name="connsiteX29" fmla="*/ 5735 w 31513"/>
                <a:gd name="connsiteY29" fmla="*/ 7877 h 20704"/>
                <a:gd name="connsiteX30" fmla="*/ 5735 w 31513"/>
                <a:gd name="connsiteY30" fmla="*/ 12639 h 20704"/>
                <a:gd name="connsiteX31" fmla="*/ 1068 w 31513"/>
                <a:gd name="connsiteY31" fmla="*/ 15592 h 20704"/>
                <a:gd name="connsiteX32" fmla="*/ 20 w 31513"/>
                <a:gd name="connsiteY32" fmla="*/ 17211 h 20704"/>
                <a:gd name="connsiteX33" fmla="*/ 1449 w 31513"/>
                <a:gd name="connsiteY33" fmla="*/ 18259 h 20704"/>
                <a:gd name="connsiteX34" fmla="*/ 1449 w 31513"/>
                <a:gd name="connsiteY34" fmla="*/ 18259 h 20704"/>
                <a:gd name="connsiteX35" fmla="*/ 7735 w 31513"/>
                <a:gd name="connsiteY35" fmla="*/ 14354 h 20704"/>
                <a:gd name="connsiteX36" fmla="*/ 13831 w 31513"/>
                <a:gd name="connsiteY36" fmla="*/ 15211 h 20704"/>
                <a:gd name="connsiteX37" fmla="*/ 17832 w 31513"/>
                <a:gd name="connsiteY37" fmla="*/ 12639 h 20704"/>
                <a:gd name="connsiteX38" fmla="*/ 18498 w 31513"/>
                <a:gd name="connsiteY38" fmla="*/ 13877 h 20704"/>
                <a:gd name="connsiteX39" fmla="*/ 21547 w 31513"/>
                <a:gd name="connsiteY39" fmla="*/ 16354 h 20704"/>
                <a:gd name="connsiteX40" fmla="*/ 21547 w 31513"/>
                <a:gd name="connsiteY40" fmla="*/ 16354 h 20704"/>
                <a:gd name="connsiteX41" fmla="*/ 22785 w 31513"/>
                <a:gd name="connsiteY41" fmla="*/ 20640 h 20704"/>
                <a:gd name="connsiteX42" fmla="*/ 24213 w 31513"/>
                <a:gd name="connsiteY42" fmla="*/ 20640 h 20704"/>
                <a:gd name="connsiteX43" fmla="*/ 27071 w 31513"/>
                <a:gd name="connsiteY43" fmla="*/ 19307 h 20704"/>
                <a:gd name="connsiteX44" fmla="*/ 30119 w 31513"/>
                <a:gd name="connsiteY44" fmla="*/ 7019 h 20704"/>
                <a:gd name="connsiteX45" fmla="*/ 30119 w 31513"/>
                <a:gd name="connsiteY45" fmla="*/ 3019 h 20704"/>
                <a:gd name="connsiteX46" fmla="*/ 30690 w 31513"/>
                <a:gd name="connsiteY46" fmla="*/ 2447 h 20704"/>
                <a:gd name="connsiteX47" fmla="*/ 31468 w 31513"/>
                <a:gd name="connsiteY47" fmla="*/ 1030 h 20704"/>
                <a:gd name="connsiteX48" fmla="*/ 31072 w 31513"/>
                <a:gd name="connsiteY48" fmla="*/ 447 h 20704"/>
                <a:gd name="connsiteX49" fmla="*/ 18213 w 31513"/>
                <a:gd name="connsiteY49" fmla="*/ 9972 h 20704"/>
                <a:gd name="connsiteX50" fmla="*/ 16212 w 31513"/>
                <a:gd name="connsiteY50" fmla="*/ 8353 h 20704"/>
                <a:gd name="connsiteX51" fmla="*/ 18499 w 31513"/>
                <a:gd name="connsiteY51" fmla="*/ 6924 h 20704"/>
                <a:gd name="connsiteX52" fmla="*/ 18975 w 31513"/>
                <a:gd name="connsiteY52" fmla="*/ 6924 h 20704"/>
                <a:gd name="connsiteX53" fmla="*/ 20308 w 31513"/>
                <a:gd name="connsiteY53" fmla="*/ 8543 h 20704"/>
                <a:gd name="connsiteX54" fmla="*/ 20308 w 31513"/>
                <a:gd name="connsiteY54" fmla="*/ 8543 h 20704"/>
                <a:gd name="connsiteX55" fmla="*/ 20975 w 31513"/>
                <a:gd name="connsiteY55" fmla="*/ 9401 h 2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31513" h="20704">
                  <a:moveTo>
                    <a:pt x="31072" y="447"/>
                  </a:moveTo>
                  <a:cubicBezTo>
                    <a:pt x="30635" y="-79"/>
                    <a:pt x="29854" y="-151"/>
                    <a:pt x="29328" y="286"/>
                  </a:cubicBezTo>
                  <a:cubicBezTo>
                    <a:pt x="29269" y="334"/>
                    <a:pt x="29215" y="388"/>
                    <a:pt x="29166" y="447"/>
                  </a:cubicBezTo>
                  <a:lnTo>
                    <a:pt x="28119" y="1304"/>
                  </a:lnTo>
                  <a:cubicBezTo>
                    <a:pt x="28023" y="1615"/>
                    <a:pt x="28023" y="1946"/>
                    <a:pt x="28119" y="2257"/>
                  </a:cubicBezTo>
                  <a:lnTo>
                    <a:pt x="28119" y="8258"/>
                  </a:lnTo>
                  <a:cubicBezTo>
                    <a:pt x="28172" y="11838"/>
                    <a:pt x="27424" y="15386"/>
                    <a:pt x="25928" y="18640"/>
                  </a:cubicBezTo>
                  <a:cubicBezTo>
                    <a:pt x="25582" y="18712"/>
                    <a:pt x="25226" y="18712"/>
                    <a:pt x="24880" y="18640"/>
                  </a:cubicBezTo>
                  <a:cubicBezTo>
                    <a:pt x="24803" y="17848"/>
                    <a:pt x="24803" y="17050"/>
                    <a:pt x="24880" y="16259"/>
                  </a:cubicBezTo>
                  <a:cubicBezTo>
                    <a:pt x="24926" y="16039"/>
                    <a:pt x="24926" y="15812"/>
                    <a:pt x="24880" y="15592"/>
                  </a:cubicBezTo>
                  <a:cubicBezTo>
                    <a:pt x="24343" y="14523"/>
                    <a:pt x="23215" y="13884"/>
                    <a:pt x="22023" y="13973"/>
                  </a:cubicBezTo>
                  <a:lnTo>
                    <a:pt x="22023" y="13973"/>
                  </a:lnTo>
                  <a:cubicBezTo>
                    <a:pt x="21886" y="13251"/>
                    <a:pt x="21593" y="12569"/>
                    <a:pt x="21165" y="11972"/>
                  </a:cubicBezTo>
                  <a:lnTo>
                    <a:pt x="24404" y="11020"/>
                  </a:lnTo>
                  <a:cubicBezTo>
                    <a:pt x="25165" y="10660"/>
                    <a:pt x="25490" y="9751"/>
                    <a:pt x="25129" y="8990"/>
                  </a:cubicBezTo>
                  <a:cubicBezTo>
                    <a:pt x="25087" y="8900"/>
                    <a:pt x="25035" y="8814"/>
                    <a:pt x="24976" y="8734"/>
                  </a:cubicBezTo>
                  <a:lnTo>
                    <a:pt x="22975" y="6543"/>
                  </a:lnTo>
                  <a:lnTo>
                    <a:pt x="20689" y="3686"/>
                  </a:lnTo>
                  <a:cubicBezTo>
                    <a:pt x="20689" y="3686"/>
                    <a:pt x="20118" y="3209"/>
                    <a:pt x="19832" y="3019"/>
                  </a:cubicBezTo>
                  <a:cubicBezTo>
                    <a:pt x="19500" y="2864"/>
                    <a:pt x="19116" y="2864"/>
                    <a:pt x="18784" y="3019"/>
                  </a:cubicBezTo>
                  <a:lnTo>
                    <a:pt x="17260" y="4448"/>
                  </a:lnTo>
                  <a:cubicBezTo>
                    <a:pt x="16194" y="5186"/>
                    <a:pt x="15080" y="5855"/>
                    <a:pt x="13927" y="6448"/>
                  </a:cubicBezTo>
                  <a:cubicBezTo>
                    <a:pt x="13496" y="6626"/>
                    <a:pt x="13201" y="7031"/>
                    <a:pt x="13164" y="7496"/>
                  </a:cubicBezTo>
                  <a:cubicBezTo>
                    <a:pt x="13026" y="7864"/>
                    <a:pt x="13026" y="8270"/>
                    <a:pt x="13164" y="8639"/>
                  </a:cubicBezTo>
                  <a:lnTo>
                    <a:pt x="16117" y="11020"/>
                  </a:lnTo>
                  <a:cubicBezTo>
                    <a:pt x="15450" y="11591"/>
                    <a:pt x="14784" y="12353"/>
                    <a:pt x="14022" y="12449"/>
                  </a:cubicBezTo>
                  <a:cubicBezTo>
                    <a:pt x="12321" y="12390"/>
                    <a:pt x="10631" y="12167"/>
                    <a:pt x="8974" y="11782"/>
                  </a:cubicBezTo>
                  <a:cubicBezTo>
                    <a:pt x="9132" y="10062"/>
                    <a:pt x="8870" y="8330"/>
                    <a:pt x="8211" y="6734"/>
                  </a:cubicBezTo>
                  <a:cubicBezTo>
                    <a:pt x="7805" y="6098"/>
                    <a:pt x="6995" y="5855"/>
                    <a:pt x="6306" y="6162"/>
                  </a:cubicBezTo>
                  <a:cubicBezTo>
                    <a:pt x="5733" y="6525"/>
                    <a:pt x="5494" y="7242"/>
                    <a:pt x="5735" y="7877"/>
                  </a:cubicBezTo>
                  <a:cubicBezTo>
                    <a:pt x="6265" y="9420"/>
                    <a:pt x="6265" y="11096"/>
                    <a:pt x="5735" y="12639"/>
                  </a:cubicBezTo>
                  <a:cubicBezTo>
                    <a:pt x="4688" y="14261"/>
                    <a:pt x="2982" y="15341"/>
                    <a:pt x="1068" y="15592"/>
                  </a:cubicBezTo>
                  <a:cubicBezTo>
                    <a:pt x="352" y="15779"/>
                    <a:pt x="-103" y="16481"/>
                    <a:pt x="20" y="17211"/>
                  </a:cubicBezTo>
                  <a:cubicBezTo>
                    <a:pt x="162" y="17872"/>
                    <a:pt x="776" y="18322"/>
                    <a:pt x="1449" y="18259"/>
                  </a:cubicBezTo>
                  <a:lnTo>
                    <a:pt x="1449" y="18259"/>
                  </a:lnTo>
                  <a:cubicBezTo>
                    <a:pt x="4014" y="17937"/>
                    <a:pt x="6310" y="16510"/>
                    <a:pt x="7735" y="14354"/>
                  </a:cubicBezTo>
                  <a:cubicBezTo>
                    <a:pt x="9711" y="14951"/>
                    <a:pt x="11767" y="15240"/>
                    <a:pt x="13831" y="15211"/>
                  </a:cubicBezTo>
                  <a:cubicBezTo>
                    <a:pt x="15443" y="14892"/>
                    <a:pt x="16873" y="13973"/>
                    <a:pt x="17832" y="12639"/>
                  </a:cubicBezTo>
                  <a:cubicBezTo>
                    <a:pt x="18087" y="13033"/>
                    <a:pt x="18310" y="13447"/>
                    <a:pt x="18498" y="13877"/>
                  </a:cubicBezTo>
                  <a:cubicBezTo>
                    <a:pt x="18498" y="16354"/>
                    <a:pt x="20213" y="16354"/>
                    <a:pt x="21547" y="16354"/>
                  </a:cubicBezTo>
                  <a:lnTo>
                    <a:pt x="21547" y="16354"/>
                  </a:lnTo>
                  <a:cubicBezTo>
                    <a:pt x="21547" y="18068"/>
                    <a:pt x="21547" y="20069"/>
                    <a:pt x="22785" y="20640"/>
                  </a:cubicBezTo>
                  <a:cubicBezTo>
                    <a:pt x="23257" y="20726"/>
                    <a:pt x="23741" y="20726"/>
                    <a:pt x="24213" y="20640"/>
                  </a:cubicBezTo>
                  <a:cubicBezTo>
                    <a:pt x="25311" y="20617"/>
                    <a:pt x="26348" y="20133"/>
                    <a:pt x="27071" y="19307"/>
                  </a:cubicBezTo>
                  <a:cubicBezTo>
                    <a:pt x="29223" y="15579"/>
                    <a:pt x="30280" y="11320"/>
                    <a:pt x="30119" y="7019"/>
                  </a:cubicBezTo>
                  <a:lnTo>
                    <a:pt x="30119" y="3019"/>
                  </a:lnTo>
                  <a:lnTo>
                    <a:pt x="30690" y="2447"/>
                  </a:lnTo>
                  <a:cubicBezTo>
                    <a:pt x="31297" y="2271"/>
                    <a:pt x="31645" y="1636"/>
                    <a:pt x="31468" y="1030"/>
                  </a:cubicBezTo>
                  <a:cubicBezTo>
                    <a:pt x="31401" y="799"/>
                    <a:pt x="31262" y="595"/>
                    <a:pt x="31072" y="447"/>
                  </a:cubicBezTo>
                  <a:close/>
                  <a:moveTo>
                    <a:pt x="18213" y="9972"/>
                  </a:moveTo>
                  <a:lnTo>
                    <a:pt x="16212" y="8353"/>
                  </a:lnTo>
                  <a:cubicBezTo>
                    <a:pt x="17018" y="7950"/>
                    <a:pt x="17783" y="7471"/>
                    <a:pt x="18499" y="6924"/>
                  </a:cubicBezTo>
                  <a:lnTo>
                    <a:pt x="18975" y="6924"/>
                  </a:lnTo>
                  <a:lnTo>
                    <a:pt x="20308" y="8543"/>
                  </a:lnTo>
                  <a:lnTo>
                    <a:pt x="20308" y="8543"/>
                  </a:lnTo>
                  <a:lnTo>
                    <a:pt x="20975" y="9401"/>
                  </a:ln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C771B9F-079A-47C2-89DF-2387D79D1E9A}"/>
                </a:ext>
              </a:extLst>
            </p:cNvPr>
            <p:cNvSpPr/>
            <p:nvPr/>
          </p:nvSpPr>
          <p:spPr>
            <a:xfrm>
              <a:off x="6158850" y="25493028"/>
              <a:ext cx="4938" cy="17575"/>
            </a:xfrm>
            <a:custGeom>
              <a:avLst/>
              <a:gdLst>
                <a:gd name="connsiteX0" fmla="*/ 2205 w 4938"/>
                <a:gd name="connsiteY0" fmla="*/ 16242 h 17575"/>
                <a:gd name="connsiteX1" fmla="*/ 3157 w 4938"/>
                <a:gd name="connsiteY1" fmla="*/ 3669 h 17575"/>
                <a:gd name="connsiteX2" fmla="*/ 4491 w 4938"/>
                <a:gd name="connsiteY2" fmla="*/ 3669 h 17575"/>
                <a:gd name="connsiteX3" fmla="*/ 4652 w 4938"/>
                <a:gd name="connsiteY3" fmla="*/ 1925 h 17575"/>
                <a:gd name="connsiteX4" fmla="*/ 4491 w 4938"/>
                <a:gd name="connsiteY4" fmla="*/ 1764 h 17575"/>
                <a:gd name="connsiteX5" fmla="*/ 2967 w 4938"/>
                <a:gd name="connsiteY5" fmla="*/ 240 h 17575"/>
                <a:gd name="connsiteX6" fmla="*/ 1633 w 4938"/>
                <a:gd name="connsiteY6" fmla="*/ 240 h 17575"/>
                <a:gd name="connsiteX7" fmla="*/ 681 w 4938"/>
                <a:gd name="connsiteY7" fmla="*/ 1383 h 17575"/>
                <a:gd name="connsiteX8" fmla="*/ 14 w 4938"/>
                <a:gd name="connsiteY8" fmla="*/ 16051 h 17575"/>
                <a:gd name="connsiteX9" fmla="*/ 1141 w 4938"/>
                <a:gd name="connsiteY9" fmla="*/ 17563 h 17575"/>
                <a:gd name="connsiteX10" fmla="*/ 1252 w 4938"/>
                <a:gd name="connsiteY10" fmla="*/ 17575 h 17575"/>
                <a:gd name="connsiteX11" fmla="*/ 1252 w 4938"/>
                <a:gd name="connsiteY11" fmla="*/ 17575 h 17575"/>
                <a:gd name="connsiteX12" fmla="*/ 2205 w 4938"/>
                <a:gd name="connsiteY12" fmla="*/ 16242 h 17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38" h="17575">
                  <a:moveTo>
                    <a:pt x="2205" y="16242"/>
                  </a:moveTo>
                  <a:lnTo>
                    <a:pt x="3157" y="3669"/>
                  </a:lnTo>
                  <a:cubicBezTo>
                    <a:pt x="3570" y="3907"/>
                    <a:pt x="4078" y="3907"/>
                    <a:pt x="4491" y="3669"/>
                  </a:cubicBezTo>
                  <a:cubicBezTo>
                    <a:pt x="5017" y="3232"/>
                    <a:pt x="5089" y="2451"/>
                    <a:pt x="4652" y="1925"/>
                  </a:cubicBezTo>
                  <a:cubicBezTo>
                    <a:pt x="4604" y="1866"/>
                    <a:pt x="4550" y="1812"/>
                    <a:pt x="4491" y="1764"/>
                  </a:cubicBezTo>
                  <a:lnTo>
                    <a:pt x="2967" y="240"/>
                  </a:lnTo>
                  <a:cubicBezTo>
                    <a:pt x="2580" y="-80"/>
                    <a:pt x="2021" y="-80"/>
                    <a:pt x="1633" y="240"/>
                  </a:cubicBezTo>
                  <a:cubicBezTo>
                    <a:pt x="1078" y="333"/>
                    <a:pt x="673" y="819"/>
                    <a:pt x="681" y="1383"/>
                  </a:cubicBezTo>
                  <a:lnTo>
                    <a:pt x="14" y="16051"/>
                  </a:lnTo>
                  <a:cubicBezTo>
                    <a:pt x="-92" y="16780"/>
                    <a:pt x="412" y="17457"/>
                    <a:pt x="1141" y="17563"/>
                  </a:cubicBezTo>
                  <a:cubicBezTo>
                    <a:pt x="1178" y="17569"/>
                    <a:pt x="1215" y="17573"/>
                    <a:pt x="1252" y="17575"/>
                  </a:cubicBezTo>
                  <a:lnTo>
                    <a:pt x="1252" y="17575"/>
                  </a:lnTo>
                  <a:cubicBezTo>
                    <a:pt x="1838" y="17401"/>
                    <a:pt x="2230" y="16852"/>
                    <a:pt x="2205" y="16242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734105-969C-4F1A-8945-03520F3E7A91}"/>
                </a:ext>
              </a:extLst>
            </p:cNvPr>
            <p:cNvSpPr/>
            <p:nvPr/>
          </p:nvSpPr>
          <p:spPr>
            <a:xfrm>
              <a:off x="6160565" y="25501601"/>
              <a:ext cx="41178" cy="15098"/>
            </a:xfrm>
            <a:custGeom>
              <a:avLst/>
              <a:gdLst>
                <a:gd name="connsiteX0" fmla="*/ 40686 w 41178"/>
                <a:gd name="connsiteY0" fmla="*/ 9097 h 15098"/>
                <a:gd name="connsiteX1" fmla="*/ 39352 w 41178"/>
                <a:gd name="connsiteY1" fmla="*/ 3287 h 15098"/>
                <a:gd name="connsiteX2" fmla="*/ 38590 w 41178"/>
                <a:gd name="connsiteY2" fmla="*/ 2525 h 15098"/>
                <a:gd name="connsiteX3" fmla="*/ 37447 w 41178"/>
                <a:gd name="connsiteY3" fmla="*/ 2525 h 15098"/>
                <a:gd name="connsiteX4" fmla="*/ 32018 w 41178"/>
                <a:gd name="connsiteY4" fmla="*/ 8240 h 15098"/>
                <a:gd name="connsiteX5" fmla="*/ 30018 w 41178"/>
                <a:gd name="connsiteY5" fmla="*/ 8240 h 15098"/>
                <a:gd name="connsiteX6" fmla="*/ 30018 w 41178"/>
                <a:gd name="connsiteY6" fmla="*/ 4716 h 15098"/>
                <a:gd name="connsiteX7" fmla="*/ 28684 w 41178"/>
                <a:gd name="connsiteY7" fmla="*/ 3382 h 15098"/>
                <a:gd name="connsiteX8" fmla="*/ 14778 w 41178"/>
                <a:gd name="connsiteY8" fmla="*/ 2811 h 15098"/>
                <a:gd name="connsiteX9" fmla="*/ 14778 w 41178"/>
                <a:gd name="connsiteY9" fmla="*/ 1191 h 15098"/>
                <a:gd name="connsiteX10" fmla="*/ 14206 w 41178"/>
                <a:gd name="connsiteY10" fmla="*/ 144 h 15098"/>
                <a:gd name="connsiteX11" fmla="*/ 12873 w 41178"/>
                <a:gd name="connsiteY11" fmla="*/ 144 h 15098"/>
                <a:gd name="connsiteX12" fmla="*/ 11254 w 41178"/>
                <a:gd name="connsiteY12" fmla="*/ 715 h 15098"/>
                <a:gd name="connsiteX13" fmla="*/ 10492 w 41178"/>
                <a:gd name="connsiteY13" fmla="*/ 2430 h 15098"/>
                <a:gd name="connsiteX14" fmla="*/ 11920 w 41178"/>
                <a:gd name="connsiteY14" fmla="*/ 3287 h 15098"/>
                <a:gd name="connsiteX15" fmla="*/ 11920 w 41178"/>
                <a:gd name="connsiteY15" fmla="*/ 7764 h 15098"/>
                <a:gd name="connsiteX16" fmla="*/ 9634 w 41178"/>
                <a:gd name="connsiteY16" fmla="*/ 7764 h 15098"/>
                <a:gd name="connsiteX17" fmla="*/ 7825 w 41178"/>
                <a:gd name="connsiteY17" fmla="*/ 2811 h 15098"/>
                <a:gd name="connsiteX18" fmla="*/ 5824 w 41178"/>
                <a:gd name="connsiteY18" fmla="*/ 2811 h 15098"/>
                <a:gd name="connsiteX19" fmla="*/ 5805 w 41178"/>
                <a:gd name="connsiteY19" fmla="*/ 4696 h 15098"/>
                <a:gd name="connsiteX20" fmla="*/ 5824 w 41178"/>
                <a:gd name="connsiteY20" fmla="*/ 4716 h 15098"/>
                <a:gd name="connsiteX21" fmla="*/ 7348 w 41178"/>
                <a:gd name="connsiteY21" fmla="*/ 9192 h 15098"/>
                <a:gd name="connsiteX22" fmla="*/ 1252 w 41178"/>
                <a:gd name="connsiteY22" fmla="*/ 12145 h 15098"/>
                <a:gd name="connsiteX23" fmla="*/ 3 w 41178"/>
                <a:gd name="connsiteY23" fmla="*/ 13557 h 15098"/>
                <a:gd name="connsiteX24" fmla="*/ 14 w 41178"/>
                <a:gd name="connsiteY24" fmla="*/ 13669 h 15098"/>
                <a:gd name="connsiteX25" fmla="*/ 1348 w 41178"/>
                <a:gd name="connsiteY25" fmla="*/ 14812 h 15098"/>
                <a:gd name="connsiteX26" fmla="*/ 1348 w 41178"/>
                <a:gd name="connsiteY26" fmla="*/ 14812 h 15098"/>
                <a:gd name="connsiteX27" fmla="*/ 9730 w 41178"/>
                <a:gd name="connsiteY27" fmla="*/ 10050 h 15098"/>
                <a:gd name="connsiteX28" fmla="*/ 9730 w 41178"/>
                <a:gd name="connsiteY28" fmla="*/ 10050 h 15098"/>
                <a:gd name="connsiteX29" fmla="*/ 22493 w 41178"/>
                <a:gd name="connsiteY29" fmla="*/ 11002 h 15098"/>
                <a:gd name="connsiteX30" fmla="*/ 23922 w 41178"/>
                <a:gd name="connsiteY30" fmla="*/ 14241 h 15098"/>
                <a:gd name="connsiteX31" fmla="*/ 26113 w 41178"/>
                <a:gd name="connsiteY31" fmla="*/ 15098 h 15098"/>
                <a:gd name="connsiteX32" fmla="*/ 26875 w 41178"/>
                <a:gd name="connsiteY32" fmla="*/ 15098 h 15098"/>
                <a:gd name="connsiteX33" fmla="*/ 30494 w 41178"/>
                <a:gd name="connsiteY33" fmla="*/ 10907 h 15098"/>
                <a:gd name="connsiteX34" fmla="*/ 40019 w 41178"/>
                <a:gd name="connsiteY34" fmla="*/ 10907 h 15098"/>
                <a:gd name="connsiteX35" fmla="*/ 41067 w 41178"/>
                <a:gd name="connsiteY35" fmla="*/ 10907 h 15098"/>
                <a:gd name="connsiteX36" fmla="*/ 40686 w 41178"/>
                <a:gd name="connsiteY36" fmla="*/ 9097 h 15098"/>
                <a:gd name="connsiteX37" fmla="*/ 26208 w 41178"/>
                <a:gd name="connsiteY37" fmla="*/ 12336 h 15098"/>
                <a:gd name="connsiteX38" fmla="*/ 25636 w 41178"/>
                <a:gd name="connsiteY38" fmla="*/ 12336 h 15098"/>
                <a:gd name="connsiteX39" fmla="*/ 24970 w 41178"/>
                <a:gd name="connsiteY39" fmla="*/ 9859 h 15098"/>
                <a:gd name="connsiteX40" fmla="*/ 23835 w 41178"/>
                <a:gd name="connsiteY40" fmla="*/ 8526 h 15098"/>
                <a:gd name="connsiteX41" fmla="*/ 23636 w 41178"/>
                <a:gd name="connsiteY41" fmla="*/ 8526 h 15098"/>
                <a:gd name="connsiteX42" fmla="*/ 14778 w 41178"/>
                <a:gd name="connsiteY42" fmla="*/ 7764 h 15098"/>
                <a:gd name="connsiteX43" fmla="*/ 14778 w 41178"/>
                <a:gd name="connsiteY43" fmla="*/ 5478 h 15098"/>
                <a:gd name="connsiteX44" fmla="*/ 27065 w 41178"/>
                <a:gd name="connsiteY44" fmla="*/ 6049 h 15098"/>
                <a:gd name="connsiteX45" fmla="*/ 27065 w 41178"/>
                <a:gd name="connsiteY45" fmla="*/ 9764 h 15098"/>
                <a:gd name="connsiteX46" fmla="*/ 26208 w 41178"/>
                <a:gd name="connsiteY46" fmla="*/ 12336 h 15098"/>
                <a:gd name="connsiteX47" fmla="*/ 34780 w 41178"/>
                <a:gd name="connsiteY47" fmla="*/ 8145 h 15098"/>
                <a:gd name="connsiteX48" fmla="*/ 36971 w 41178"/>
                <a:gd name="connsiteY48" fmla="*/ 5668 h 15098"/>
                <a:gd name="connsiteX49" fmla="*/ 37638 w 41178"/>
                <a:gd name="connsiteY49" fmla="*/ 8145 h 1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1178" h="15098">
                  <a:moveTo>
                    <a:pt x="40686" y="9097"/>
                  </a:moveTo>
                  <a:lnTo>
                    <a:pt x="39352" y="3287"/>
                  </a:lnTo>
                  <a:cubicBezTo>
                    <a:pt x="39352" y="3287"/>
                    <a:pt x="39352" y="2620"/>
                    <a:pt x="38590" y="2525"/>
                  </a:cubicBezTo>
                  <a:cubicBezTo>
                    <a:pt x="38252" y="2271"/>
                    <a:pt x="37786" y="2271"/>
                    <a:pt x="37447" y="2525"/>
                  </a:cubicBezTo>
                  <a:cubicBezTo>
                    <a:pt x="37447" y="2525"/>
                    <a:pt x="32685" y="4335"/>
                    <a:pt x="32018" y="8240"/>
                  </a:cubicBezTo>
                  <a:lnTo>
                    <a:pt x="30018" y="8240"/>
                  </a:lnTo>
                  <a:lnTo>
                    <a:pt x="30018" y="4716"/>
                  </a:lnTo>
                  <a:cubicBezTo>
                    <a:pt x="30018" y="3954"/>
                    <a:pt x="29351" y="3382"/>
                    <a:pt x="28684" y="3382"/>
                  </a:cubicBezTo>
                  <a:lnTo>
                    <a:pt x="14778" y="2811"/>
                  </a:lnTo>
                  <a:lnTo>
                    <a:pt x="14778" y="1191"/>
                  </a:lnTo>
                  <a:cubicBezTo>
                    <a:pt x="14728" y="782"/>
                    <a:pt x="14523" y="407"/>
                    <a:pt x="14206" y="144"/>
                  </a:cubicBezTo>
                  <a:cubicBezTo>
                    <a:pt x="13782" y="-48"/>
                    <a:pt x="13297" y="-48"/>
                    <a:pt x="12873" y="144"/>
                  </a:cubicBezTo>
                  <a:lnTo>
                    <a:pt x="11254" y="715"/>
                  </a:lnTo>
                  <a:cubicBezTo>
                    <a:pt x="10573" y="981"/>
                    <a:pt x="10233" y="1746"/>
                    <a:pt x="10492" y="2430"/>
                  </a:cubicBezTo>
                  <a:cubicBezTo>
                    <a:pt x="10676" y="3041"/>
                    <a:pt x="11294" y="3412"/>
                    <a:pt x="11920" y="3287"/>
                  </a:cubicBezTo>
                  <a:lnTo>
                    <a:pt x="11920" y="7764"/>
                  </a:lnTo>
                  <a:lnTo>
                    <a:pt x="9634" y="7764"/>
                  </a:lnTo>
                  <a:cubicBezTo>
                    <a:pt x="9509" y="5975"/>
                    <a:pt x="8882" y="4258"/>
                    <a:pt x="7825" y="2811"/>
                  </a:cubicBezTo>
                  <a:cubicBezTo>
                    <a:pt x="7269" y="2266"/>
                    <a:pt x="6380" y="2266"/>
                    <a:pt x="5824" y="2811"/>
                  </a:cubicBezTo>
                  <a:cubicBezTo>
                    <a:pt x="5298" y="3326"/>
                    <a:pt x="5290" y="4170"/>
                    <a:pt x="5805" y="4696"/>
                  </a:cubicBezTo>
                  <a:cubicBezTo>
                    <a:pt x="5811" y="4703"/>
                    <a:pt x="5818" y="4709"/>
                    <a:pt x="5824" y="4716"/>
                  </a:cubicBezTo>
                  <a:cubicBezTo>
                    <a:pt x="5824" y="5287"/>
                    <a:pt x="7920" y="7478"/>
                    <a:pt x="7348" y="9192"/>
                  </a:cubicBezTo>
                  <a:cubicBezTo>
                    <a:pt x="6777" y="10907"/>
                    <a:pt x="4681" y="11669"/>
                    <a:pt x="1252" y="12145"/>
                  </a:cubicBezTo>
                  <a:cubicBezTo>
                    <a:pt x="517" y="12190"/>
                    <a:pt x="-42" y="12822"/>
                    <a:pt x="3" y="13557"/>
                  </a:cubicBezTo>
                  <a:cubicBezTo>
                    <a:pt x="5" y="13595"/>
                    <a:pt x="9" y="13632"/>
                    <a:pt x="14" y="13669"/>
                  </a:cubicBezTo>
                  <a:cubicBezTo>
                    <a:pt x="109" y="14330"/>
                    <a:pt x="680" y="14819"/>
                    <a:pt x="1348" y="14812"/>
                  </a:cubicBezTo>
                  <a:lnTo>
                    <a:pt x="1348" y="14812"/>
                  </a:lnTo>
                  <a:cubicBezTo>
                    <a:pt x="6015" y="14145"/>
                    <a:pt x="8872" y="12526"/>
                    <a:pt x="9730" y="10050"/>
                  </a:cubicBezTo>
                  <a:cubicBezTo>
                    <a:pt x="9730" y="10050"/>
                    <a:pt x="9730" y="10050"/>
                    <a:pt x="9730" y="10050"/>
                  </a:cubicBezTo>
                  <a:lnTo>
                    <a:pt x="22493" y="11002"/>
                  </a:lnTo>
                  <a:cubicBezTo>
                    <a:pt x="22579" y="12215"/>
                    <a:pt x="23084" y="13360"/>
                    <a:pt x="23922" y="14241"/>
                  </a:cubicBezTo>
                  <a:cubicBezTo>
                    <a:pt x="24514" y="14799"/>
                    <a:pt x="25299" y="15106"/>
                    <a:pt x="26113" y="15098"/>
                  </a:cubicBezTo>
                  <a:lnTo>
                    <a:pt x="26875" y="15098"/>
                  </a:lnTo>
                  <a:cubicBezTo>
                    <a:pt x="28923" y="14737"/>
                    <a:pt x="30435" y="12986"/>
                    <a:pt x="30494" y="10907"/>
                  </a:cubicBezTo>
                  <a:lnTo>
                    <a:pt x="40019" y="10907"/>
                  </a:lnTo>
                  <a:cubicBezTo>
                    <a:pt x="40348" y="11076"/>
                    <a:pt x="40738" y="11076"/>
                    <a:pt x="41067" y="10907"/>
                  </a:cubicBezTo>
                  <a:cubicBezTo>
                    <a:pt x="41304" y="10281"/>
                    <a:pt x="41155" y="9574"/>
                    <a:pt x="40686" y="9097"/>
                  </a:cubicBezTo>
                  <a:close/>
                  <a:moveTo>
                    <a:pt x="26208" y="12336"/>
                  </a:moveTo>
                  <a:lnTo>
                    <a:pt x="25636" y="12336"/>
                  </a:lnTo>
                  <a:cubicBezTo>
                    <a:pt x="25148" y="11606"/>
                    <a:pt x="24914" y="10735"/>
                    <a:pt x="24970" y="9859"/>
                  </a:cubicBezTo>
                  <a:cubicBezTo>
                    <a:pt x="25024" y="9177"/>
                    <a:pt x="24516" y="8580"/>
                    <a:pt x="23835" y="8526"/>
                  </a:cubicBezTo>
                  <a:cubicBezTo>
                    <a:pt x="23768" y="8520"/>
                    <a:pt x="23702" y="8520"/>
                    <a:pt x="23636" y="8526"/>
                  </a:cubicBezTo>
                  <a:lnTo>
                    <a:pt x="14778" y="7764"/>
                  </a:lnTo>
                  <a:lnTo>
                    <a:pt x="14778" y="5478"/>
                  </a:lnTo>
                  <a:lnTo>
                    <a:pt x="27065" y="6049"/>
                  </a:lnTo>
                  <a:lnTo>
                    <a:pt x="27065" y="9764"/>
                  </a:lnTo>
                  <a:cubicBezTo>
                    <a:pt x="27065" y="9764"/>
                    <a:pt x="27732" y="12336"/>
                    <a:pt x="26208" y="12336"/>
                  </a:cubicBezTo>
                  <a:close/>
                  <a:moveTo>
                    <a:pt x="34780" y="8145"/>
                  </a:moveTo>
                  <a:cubicBezTo>
                    <a:pt x="35246" y="7118"/>
                    <a:pt x="36009" y="6255"/>
                    <a:pt x="36971" y="5668"/>
                  </a:cubicBezTo>
                  <a:lnTo>
                    <a:pt x="37638" y="8145"/>
                  </a:ln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278D5B25-98AC-4DC1-B0BD-BF645D972D07}"/>
                </a:ext>
              </a:extLst>
            </p:cNvPr>
            <p:cNvSpPr/>
            <p:nvPr/>
          </p:nvSpPr>
          <p:spPr>
            <a:xfrm>
              <a:off x="6204870" y="25493575"/>
              <a:ext cx="14478" cy="18253"/>
            </a:xfrm>
            <a:custGeom>
              <a:avLst/>
              <a:gdLst>
                <a:gd name="connsiteX0" fmla="*/ 13716 w 14478"/>
                <a:gd name="connsiteY0" fmla="*/ 7979 h 18253"/>
                <a:gd name="connsiteX1" fmla="*/ 12383 w 14478"/>
                <a:gd name="connsiteY1" fmla="*/ 7979 h 18253"/>
                <a:gd name="connsiteX2" fmla="*/ 10668 w 14478"/>
                <a:gd name="connsiteY2" fmla="*/ 8741 h 18253"/>
                <a:gd name="connsiteX3" fmla="*/ 9335 w 14478"/>
                <a:gd name="connsiteY3" fmla="*/ 10074 h 18253"/>
                <a:gd name="connsiteX4" fmla="*/ 10665 w 14478"/>
                <a:gd name="connsiteY4" fmla="*/ 11411 h 18253"/>
                <a:gd name="connsiteX5" fmla="*/ 10763 w 14478"/>
                <a:gd name="connsiteY5" fmla="*/ 11408 h 18253"/>
                <a:gd name="connsiteX6" fmla="*/ 11716 w 14478"/>
                <a:gd name="connsiteY6" fmla="*/ 11408 h 18253"/>
                <a:gd name="connsiteX7" fmla="*/ 11716 w 14478"/>
                <a:gd name="connsiteY7" fmla="*/ 15122 h 18253"/>
                <a:gd name="connsiteX8" fmla="*/ 7715 w 14478"/>
                <a:gd name="connsiteY8" fmla="*/ 15694 h 18253"/>
                <a:gd name="connsiteX9" fmla="*/ 6096 w 14478"/>
                <a:gd name="connsiteY9" fmla="*/ 1311 h 18253"/>
                <a:gd name="connsiteX10" fmla="*/ 5334 w 14478"/>
                <a:gd name="connsiteY10" fmla="*/ 168 h 18253"/>
                <a:gd name="connsiteX11" fmla="*/ 3810 w 14478"/>
                <a:gd name="connsiteY11" fmla="*/ 168 h 18253"/>
                <a:gd name="connsiteX12" fmla="*/ 2572 w 14478"/>
                <a:gd name="connsiteY12" fmla="*/ 1311 h 18253"/>
                <a:gd name="connsiteX13" fmla="*/ 2365 w 14478"/>
                <a:gd name="connsiteY13" fmla="*/ 2914 h 18253"/>
                <a:gd name="connsiteX14" fmla="*/ 2572 w 14478"/>
                <a:gd name="connsiteY14" fmla="*/ 3121 h 18253"/>
                <a:gd name="connsiteX15" fmla="*/ 3905 w 14478"/>
                <a:gd name="connsiteY15" fmla="*/ 3121 h 18253"/>
                <a:gd name="connsiteX16" fmla="*/ 4667 w 14478"/>
                <a:gd name="connsiteY16" fmla="*/ 10074 h 18253"/>
                <a:gd name="connsiteX17" fmla="*/ 0 w 14478"/>
                <a:gd name="connsiteY17" fmla="*/ 16551 h 18253"/>
                <a:gd name="connsiteX18" fmla="*/ 0 w 14478"/>
                <a:gd name="connsiteY18" fmla="*/ 16551 h 18253"/>
                <a:gd name="connsiteX19" fmla="*/ 0 w 14478"/>
                <a:gd name="connsiteY19" fmla="*/ 17504 h 18253"/>
                <a:gd name="connsiteX20" fmla="*/ 1429 w 14478"/>
                <a:gd name="connsiteY20" fmla="*/ 18170 h 18253"/>
                <a:gd name="connsiteX21" fmla="*/ 6858 w 14478"/>
                <a:gd name="connsiteY21" fmla="*/ 18170 h 18253"/>
                <a:gd name="connsiteX22" fmla="*/ 13335 w 14478"/>
                <a:gd name="connsiteY22" fmla="*/ 17313 h 18253"/>
                <a:gd name="connsiteX23" fmla="*/ 14478 w 14478"/>
                <a:gd name="connsiteY23" fmla="*/ 15885 h 18253"/>
                <a:gd name="connsiteX24" fmla="*/ 14478 w 14478"/>
                <a:gd name="connsiteY24" fmla="*/ 8931 h 18253"/>
                <a:gd name="connsiteX25" fmla="*/ 13716 w 14478"/>
                <a:gd name="connsiteY25" fmla="*/ 7979 h 18253"/>
                <a:gd name="connsiteX26" fmla="*/ 2667 w 14478"/>
                <a:gd name="connsiteY26" fmla="*/ 16075 h 18253"/>
                <a:gd name="connsiteX27" fmla="*/ 4858 w 14478"/>
                <a:gd name="connsiteY27" fmla="*/ 13503 h 18253"/>
                <a:gd name="connsiteX28" fmla="*/ 4858 w 14478"/>
                <a:gd name="connsiteY28" fmla="*/ 15885 h 1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4478" h="18253">
                  <a:moveTo>
                    <a:pt x="13716" y="7979"/>
                  </a:moveTo>
                  <a:cubicBezTo>
                    <a:pt x="13292" y="7787"/>
                    <a:pt x="12806" y="7787"/>
                    <a:pt x="12383" y="7979"/>
                  </a:cubicBezTo>
                  <a:lnTo>
                    <a:pt x="10668" y="8741"/>
                  </a:lnTo>
                  <a:cubicBezTo>
                    <a:pt x="9932" y="8741"/>
                    <a:pt x="9335" y="9338"/>
                    <a:pt x="9335" y="10074"/>
                  </a:cubicBezTo>
                  <a:cubicBezTo>
                    <a:pt x="9333" y="10811"/>
                    <a:pt x="9928" y="11409"/>
                    <a:pt x="10665" y="11411"/>
                  </a:cubicBezTo>
                  <a:cubicBezTo>
                    <a:pt x="10698" y="11411"/>
                    <a:pt x="10730" y="11410"/>
                    <a:pt x="10763" y="11408"/>
                  </a:cubicBezTo>
                  <a:lnTo>
                    <a:pt x="11716" y="11408"/>
                  </a:lnTo>
                  <a:lnTo>
                    <a:pt x="11716" y="15122"/>
                  </a:lnTo>
                  <a:lnTo>
                    <a:pt x="7715" y="15694"/>
                  </a:lnTo>
                  <a:lnTo>
                    <a:pt x="6096" y="1311"/>
                  </a:lnTo>
                  <a:cubicBezTo>
                    <a:pt x="6096" y="811"/>
                    <a:pt x="5795" y="361"/>
                    <a:pt x="5334" y="168"/>
                  </a:cubicBezTo>
                  <a:cubicBezTo>
                    <a:pt x="4851" y="-56"/>
                    <a:pt x="4293" y="-56"/>
                    <a:pt x="3810" y="168"/>
                  </a:cubicBezTo>
                  <a:lnTo>
                    <a:pt x="2572" y="1311"/>
                  </a:lnTo>
                  <a:cubicBezTo>
                    <a:pt x="2072" y="1697"/>
                    <a:pt x="1980" y="2415"/>
                    <a:pt x="2365" y="2914"/>
                  </a:cubicBezTo>
                  <a:cubicBezTo>
                    <a:pt x="2425" y="2992"/>
                    <a:pt x="2494" y="3061"/>
                    <a:pt x="2572" y="3121"/>
                  </a:cubicBezTo>
                  <a:cubicBezTo>
                    <a:pt x="2978" y="3381"/>
                    <a:pt x="3499" y="3381"/>
                    <a:pt x="3905" y="3121"/>
                  </a:cubicBezTo>
                  <a:lnTo>
                    <a:pt x="4667" y="10074"/>
                  </a:lnTo>
                  <a:cubicBezTo>
                    <a:pt x="1938" y="11081"/>
                    <a:pt x="92" y="13643"/>
                    <a:pt x="0" y="16551"/>
                  </a:cubicBezTo>
                  <a:lnTo>
                    <a:pt x="0" y="16551"/>
                  </a:lnTo>
                  <a:cubicBezTo>
                    <a:pt x="0" y="16551"/>
                    <a:pt x="0" y="17123"/>
                    <a:pt x="0" y="17504"/>
                  </a:cubicBezTo>
                  <a:cubicBezTo>
                    <a:pt x="0" y="17885"/>
                    <a:pt x="0" y="18170"/>
                    <a:pt x="1429" y="18170"/>
                  </a:cubicBezTo>
                  <a:cubicBezTo>
                    <a:pt x="3237" y="18281"/>
                    <a:pt x="5050" y="18281"/>
                    <a:pt x="6858" y="18170"/>
                  </a:cubicBezTo>
                  <a:lnTo>
                    <a:pt x="13335" y="17313"/>
                  </a:lnTo>
                  <a:cubicBezTo>
                    <a:pt x="13991" y="17144"/>
                    <a:pt x="14457" y="16562"/>
                    <a:pt x="14478" y="15885"/>
                  </a:cubicBezTo>
                  <a:lnTo>
                    <a:pt x="14478" y="8931"/>
                  </a:lnTo>
                  <a:cubicBezTo>
                    <a:pt x="14393" y="8509"/>
                    <a:pt x="14109" y="8155"/>
                    <a:pt x="13716" y="7979"/>
                  </a:cubicBezTo>
                  <a:close/>
                  <a:moveTo>
                    <a:pt x="2667" y="16075"/>
                  </a:moveTo>
                  <a:cubicBezTo>
                    <a:pt x="2943" y="14916"/>
                    <a:pt x="3757" y="13960"/>
                    <a:pt x="4858" y="13503"/>
                  </a:cubicBezTo>
                  <a:lnTo>
                    <a:pt x="4858" y="15885"/>
                  </a:ln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7991575-C5C4-4910-9A46-5F4C7A82A020}"/>
                </a:ext>
              </a:extLst>
            </p:cNvPr>
            <p:cNvSpPr/>
            <p:nvPr/>
          </p:nvSpPr>
          <p:spPr>
            <a:xfrm>
              <a:off x="6219147" y="25502201"/>
              <a:ext cx="8398" cy="14024"/>
            </a:xfrm>
            <a:custGeom>
              <a:avLst/>
              <a:gdLst>
                <a:gd name="connsiteX0" fmla="*/ 4868 w 8398"/>
                <a:gd name="connsiteY0" fmla="*/ 400 h 14024"/>
                <a:gd name="connsiteX1" fmla="*/ 2982 w 8398"/>
                <a:gd name="connsiteY1" fmla="*/ 381 h 14024"/>
                <a:gd name="connsiteX2" fmla="*/ 2963 w 8398"/>
                <a:gd name="connsiteY2" fmla="*/ 400 h 14024"/>
                <a:gd name="connsiteX3" fmla="*/ 2963 w 8398"/>
                <a:gd name="connsiteY3" fmla="*/ 2400 h 14024"/>
                <a:gd name="connsiteX4" fmla="*/ 5440 w 8398"/>
                <a:gd name="connsiteY4" fmla="*/ 8116 h 14024"/>
                <a:gd name="connsiteX5" fmla="*/ 1344 w 8398"/>
                <a:gd name="connsiteY5" fmla="*/ 11164 h 14024"/>
                <a:gd name="connsiteX6" fmla="*/ 10 w 8398"/>
                <a:gd name="connsiteY6" fmla="*/ 12687 h 14024"/>
                <a:gd name="connsiteX7" fmla="*/ 1340 w 8398"/>
                <a:gd name="connsiteY7" fmla="*/ 14024 h 14024"/>
                <a:gd name="connsiteX8" fmla="*/ 1439 w 8398"/>
                <a:gd name="connsiteY8" fmla="*/ 14021 h 14024"/>
                <a:gd name="connsiteX9" fmla="*/ 1439 w 8398"/>
                <a:gd name="connsiteY9" fmla="*/ 14021 h 14024"/>
                <a:gd name="connsiteX10" fmla="*/ 7916 w 8398"/>
                <a:gd name="connsiteY10" fmla="*/ 8973 h 14024"/>
                <a:gd name="connsiteX11" fmla="*/ 4868 w 8398"/>
                <a:gd name="connsiteY11" fmla="*/ 400 h 14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398" h="14024">
                  <a:moveTo>
                    <a:pt x="4868" y="400"/>
                  </a:moveTo>
                  <a:cubicBezTo>
                    <a:pt x="4353" y="-126"/>
                    <a:pt x="3508" y="-134"/>
                    <a:pt x="2982" y="381"/>
                  </a:cubicBezTo>
                  <a:cubicBezTo>
                    <a:pt x="2976" y="387"/>
                    <a:pt x="2969" y="394"/>
                    <a:pt x="2963" y="400"/>
                  </a:cubicBezTo>
                  <a:cubicBezTo>
                    <a:pt x="2419" y="956"/>
                    <a:pt x="2419" y="1845"/>
                    <a:pt x="2963" y="2400"/>
                  </a:cubicBezTo>
                  <a:cubicBezTo>
                    <a:pt x="2963" y="2400"/>
                    <a:pt x="6487" y="5258"/>
                    <a:pt x="5440" y="8116"/>
                  </a:cubicBezTo>
                  <a:cubicBezTo>
                    <a:pt x="4761" y="9825"/>
                    <a:pt x="3176" y="11005"/>
                    <a:pt x="1344" y="11164"/>
                  </a:cubicBezTo>
                  <a:cubicBezTo>
                    <a:pt x="487" y="11164"/>
                    <a:pt x="-85" y="11925"/>
                    <a:pt x="10" y="12687"/>
                  </a:cubicBezTo>
                  <a:cubicBezTo>
                    <a:pt x="8" y="13424"/>
                    <a:pt x="604" y="14023"/>
                    <a:pt x="1340" y="14024"/>
                  </a:cubicBezTo>
                  <a:cubicBezTo>
                    <a:pt x="1373" y="14024"/>
                    <a:pt x="1406" y="14023"/>
                    <a:pt x="1439" y="14021"/>
                  </a:cubicBezTo>
                  <a:lnTo>
                    <a:pt x="1439" y="14021"/>
                  </a:lnTo>
                  <a:cubicBezTo>
                    <a:pt x="4398" y="13745"/>
                    <a:pt x="6926" y="11774"/>
                    <a:pt x="7916" y="8973"/>
                  </a:cubicBezTo>
                  <a:cubicBezTo>
                    <a:pt x="9916" y="4591"/>
                    <a:pt x="5059" y="591"/>
                    <a:pt x="4868" y="400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56CB150-FD52-4443-91C5-F5C617424666}"/>
                </a:ext>
              </a:extLst>
            </p:cNvPr>
            <p:cNvSpPr/>
            <p:nvPr/>
          </p:nvSpPr>
          <p:spPr>
            <a:xfrm>
              <a:off x="6229224" y="25485488"/>
              <a:ext cx="44909" cy="28829"/>
            </a:xfrm>
            <a:custGeom>
              <a:avLst/>
              <a:gdLst>
                <a:gd name="connsiteX0" fmla="*/ 43940 w 44909"/>
                <a:gd name="connsiteY0" fmla="*/ 12923 h 28829"/>
                <a:gd name="connsiteX1" fmla="*/ 38511 w 44909"/>
                <a:gd name="connsiteY1" fmla="*/ 13875 h 28829"/>
                <a:gd name="connsiteX2" fmla="*/ 34415 w 44909"/>
                <a:gd name="connsiteY2" fmla="*/ 3588 h 28829"/>
                <a:gd name="connsiteX3" fmla="*/ 30224 w 44909"/>
                <a:gd name="connsiteY3" fmla="*/ 64 h 28829"/>
                <a:gd name="connsiteX4" fmla="*/ 25938 w 44909"/>
                <a:gd name="connsiteY4" fmla="*/ 1207 h 28829"/>
                <a:gd name="connsiteX5" fmla="*/ 25938 w 44909"/>
                <a:gd name="connsiteY5" fmla="*/ 3207 h 28829"/>
                <a:gd name="connsiteX6" fmla="*/ 27824 w 44909"/>
                <a:gd name="connsiteY6" fmla="*/ 3227 h 28829"/>
                <a:gd name="connsiteX7" fmla="*/ 27843 w 44909"/>
                <a:gd name="connsiteY7" fmla="*/ 3207 h 28829"/>
                <a:gd name="connsiteX8" fmla="*/ 31560 w 44909"/>
                <a:gd name="connsiteY8" fmla="*/ 3851 h 28829"/>
                <a:gd name="connsiteX9" fmla="*/ 31939 w 44909"/>
                <a:gd name="connsiteY9" fmla="*/ 4636 h 28829"/>
                <a:gd name="connsiteX10" fmla="*/ 35463 w 44909"/>
                <a:gd name="connsiteY10" fmla="*/ 14161 h 28829"/>
                <a:gd name="connsiteX11" fmla="*/ 32796 w 44909"/>
                <a:gd name="connsiteY11" fmla="*/ 15304 h 28829"/>
                <a:gd name="connsiteX12" fmla="*/ 32796 w 44909"/>
                <a:gd name="connsiteY12" fmla="*/ 15304 h 28829"/>
                <a:gd name="connsiteX13" fmla="*/ 26700 w 44909"/>
                <a:gd name="connsiteY13" fmla="*/ 14161 h 28829"/>
                <a:gd name="connsiteX14" fmla="*/ 24414 w 44909"/>
                <a:gd name="connsiteY14" fmla="*/ 17209 h 28829"/>
                <a:gd name="connsiteX15" fmla="*/ 22985 w 44909"/>
                <a:gd name="connsiteY15" fmla="*/ 17209 h 28829"/>
                <a:gd name="connsiteX16" fmla="*/ 18699 w 44909"/>
                <a:gd name="connsiteY16" fmla="*/ 12256 h 28829"/>
                <a:gd name="connsiteX17" fmla="*/ 15937 w 44909"/>
                <a:gd name="connsiteY17" fmla="*/ 12256 h 28829"/>
                <a:gd name="connsiteX18" fmla="*/ 15365 w 44909"/>
                <a:gd name="connsiteY18" fmla="*/ 9399 h 28829"/>
                <a:gd name="connsiteX19" fmla="*/ 13806 w 44909"/>
                <a:gd name="connsiteY19" fmla="*/ 8338 h 28829"/>
                <a:gd name="connsiteX20" fmla="*/ 13746 w 44909"/>
                <a:gd name="connsiteY20" fmla="*/ 8351 h 28829"/>
                <a:gd name="connsiteX21" fmla="*/ 12747 w 44909"/>
                <a:gd name="connsiteY21" fmla="*/ 9789 h 28829"/>
                <a:gd name="connsiteX22" fmla="*/ 12794 w 44909"/>
                <a:gd name="connsiteY22" fmla="*/ 9970 h 28829"/>
                <a:gd name="connsiteX23" fmla="*/ 13460 w 44909"/>
                <a:gd name="connsiteY23" fmla="*/ 13494 h 28829"/>
                <a:gd name="connsiteX24" fmla="*/ 12413 w 44909"/>
                <a:gd name="connsiteY24" fmla="*/ 14066 h 28829"/>
                <a:gd name="connsiteX25" fmla="*/ 10127 w 44909"/>
                <a:gd name="connsiteY25" fmla="*/ 19781 h 28829"/>
                <a:gd name="connsiteX26" fmla="*/ 8126 w 44909"/>
                <a:gd name="connsiteY26" fmla="*/ 19781 h 28829"/>
                <a:gd name="connsiteX27" fmla="*/ 6507 w 44909"/>
                <a:gd name="connsiteY27" fmla="*/ 15495 h 28829"/>
                <a:gd name="connsiteX28" fmla="*/ 5269 w 44909"/>
                <a:gd name="connsiteY28" fmla="*/ 15495 h 28829"/>
                <a:gd name="connsiteX29" fmla="*/ 602 w 44909"/>
                <a:gd name="connsiteY29" fmla="*/ 19019 h 28829"/>
                <a:gd name="connsiteX30" fmla="*/ 30 w 44909"/>
                <a:gd name="connsiteY30" fmla="*/ 20352 h 28829"/>
                <a:gd name="connsiteX31" fmla="*/ 506 w 44909"/>
                <a:gd name="connsiteY31" fmla="*/ 22353 h 28829"/>
                <a:gd name="connsiteX32" fmla="*/ 2126 w 44909"/>
                <a:gd name="connsiteY32" fmla="*/ 23400 h 28829"/>
                <a:gd name="connsiteX33" fmla="*/ 5555 w 44909"/>
                <a:gd name="connsiteY33" fmla="*/ 22829 h 28829"/>
                <a:gd name="connsiteX34" fmla="*/ 2316 w 44909"/>
                <a:gd name="connsiteY34" fmla="*/ 26163 h 28829"/>
                <a:gd name="connsiteX35" fmla="*/ 983 w 44909"/>
                <a:gd name="connsiteY35" fmla="*/ 27496 h 28829"/>
                <a:gd name="connsiteX36" fmla="*/ 2316 w 44909"/>
                <a:gd name="connsiteY36" fmla="*/ 28830 h 28829"/>
                <a:gd name="connsiteX37" fmla="*/ 6317 w 44909"/>
                <a:gd name="connsiteY37" fmla="*/ 26639 h 28829"/>
                <a:gd name="connsiteX38" fmla="*/ 8222 w 44909"/>
                <a:gd name="connsiteY38" fmla="*/ 22353 h 28829"/>
                <a:gd name="connsiteX39" fmla="*/ 15461 w 44909"/>
                <a:gd name="connsiteY39" fmla="*/ 21115 h 28829"/>
                <a:gd name="connsiteX40" fmla="*/ 16985 w 44909"/>
                <a:gd name="connsiteY40" fmla="*/ 24353 h 28829"/>
                <a:gd name="connsiteX41" fmla="*/ 19271 w 44909"/>
                <a:gd name="connsiteY41" fmla="*/ 25305 h 28829"/>
                <a:gd name="connsiteX42" fmla="*/ 21557 w 44909"/>
                <a:gd name="connsiteY42" fmla="*/ 25305 h 28829"/>
                <a:gd name="connsiteX43" fmla="*/ 23843 w 44909"/>
                <a:gd name="connsiteY43" fmla="*/ 22734 h 28829"/>
                <a:gd name="connsiteX44" fmla="*/ 23843 w 44909"/>
                <a:gd name="connsiteY44" fmla="*/ 20162 h 28829"/>
                <a:gd name="connsiteX45" fmla="*/ 24986 w 44909"/>
                <a:gd name="connsiteY45" fmla="*/ 20162 h 28829"/>
                <a:gd name="connsiteX46" fmla="*/ 24986 w 44909"/>
                <a:gd name="connsiteY46" fmla="*/ 20162 h 28829"/>
                <a:gd name="connsiteX47" fmla="*/ 30891 w 44909"/>
                <a:gd name="connsiteY47" fmla="*/ 21210 h 28829"/>
                <a:gd name="connsiteX48" fmla="*/ 32987 w 44909"/>
                <a:gd name="connsiteY48" fmla="*/ 18162 h 28829"/>
                <a:gd name="connsiteX49" fmla="*/ 37273 w 44909"/>
                <a:gd name="connsiteY49" fmla="*/ 16542 h 28829"/>
                <a:gd name="connsiteX50" fmla="*/ 43750 w 44909"/>
                <a:gd name="connsiteY50" fmla="*/ 15399 h 28829"/>
                <a:gd name="connsiteX51" fmla="*/ 44893 w 44909"/>
                <a:gd name="connsiteY51" fmla="*/ 13780 h 28829"/>
                <a:gd name="connsiteX52" fmla="*/ 43940 w 44909"/>
                <a:gd name="connsiteY52" fmla="*/ 12923 h 28829"/>
                <a:gd name="connsiteX53" fmla="*/ 3269 w 44909"/>
                <a:gd name="connsiteY53" fmla="*/ 21305 h 28829"/>
                <a:gd name="connsiteX54" fmla="*/ 5459 w 44909"/>
                <a:gd name="connsiteY54" fmla="*/ 19686 h 28829"/>
                <a:gd name="connsiteX55" fmla="*/ 5459 w 44909"/>
                <a:gd name="connsiteY55" fmla="*/ 20829 h 28829"/>
                <a:gd name="connsiteX56" fmla="*/ 12794 w 44909"/>
                <a:gd name="connsiteY56" fmla="*/ 19686 h 28829"/>
                <a:gd name="connsiteX57" fmla="*/ 13841 w 44909"/>
                <a:gd name="connsiteY57" fmla="*/ 16638 h 28829"/>
                <a:gd name="connsiteX58" fmla="*/ 13841 w 44909"/>
                <a:gd name="connsiteY58" fmla="*/ 16638 h 28829"/>
                <a:gd name="connsiteX59" fmla="*/ 14508 w 44909"/>
                <a:gd name="connsiteY59" fmla="*/ 19495 h 28829"/>
                <a:gd name="connsiteX60" fmla="*/ 16604 w 44909"/>
                <a:gd name="connsiteY60" fmla="*/ 15685 h 28829"/>
                <a:gd name="connsiteX61" fmla="*/ 18794 w 44909"/>
                <a:gd name="connsiteY61" fmla="*/ 15685 h 28829"/>
                <a:gd name="connsiteX62" fmla="*/ 20414 w 44909"/>
                <a:gd name="connsiteY62" fmla="*/ 18352 h 28829"/>
                <a:gd name="connsiteX63" fmla="*/ 17461 w 44909"/>
                <a:gd name="connsiteY63" fmla="*/ 18924 h 28829"/>
                <a:gd name="connsiteX64" fmla="*/ 16508 w 44909"/>
                <a:gd name="connsiteY64" fmla="*/ 15685 h 28829"/>
                <a:gd name="connsiteX65" fmla="*/ 21271 w 44909"/>
                <a:gd name="connsiteY65" fmla="*/ 22638 h 28829"/>
                <a:gd name="connsiteX66" fmla="*/ 19556 w 44909"/>
                <a:gd name="connsiteY66" fmla="*/ 23400 h 28829"/>
                <a:gd name="connsiteX67" fmla="*/ 19556 w 44909"/>
                <a:gd name="connsiteY67" fmla="*/ 23400 h 28829"/>
                <a:gd name="connsiteX68" fmla="*/ 18699 w 44909"/>
                <a:gd name="connsiteY68" fmla="*/ 21591 h 28829"/>
                <a:gd name="connsiteX69" fmla="*/ 21747 w 44909"/>
                <a:gd name="connsiteY69" fmla="*/ 21115 h 28829"/>
                <a:gd name="connsiteX70" fmla="*/ 30796 w 44909"/>
                <a:gd name="connsiteY70" fmla="*/ 18733 h 28829"/>
                <a:gd name="connsiteX71" fmla="*/ 27653 w 44909"/>
                <a:gd name="connsiteY71" fmla="*/ 18162 h 28829"/>
                <a:gd name="connsiteX72" fmla="*/ 28700 w 44909"/>
                <a:gd name="connsiteY72" fmla="*/ 16733 h 28829"/>
                <a:gd name="connsiteX73" fmla="*/ 31177 w 44909"/>
                <a:gd name="connsiteY73" fmla="*/ 17685 h 28829"/>
                <a:gd name="connsiteX74" fmla="*/ 30320 w 44909"/>
                <a:gd name="connsiteY74" fmla="*/ 18924 h 28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44909" h="28829">
                  <a:moveTo>
                    <a:pt x="43940" y="12923"/>
                  </a:moveTo>
                  <a:lnTo>
                    <a:pt x="38511" y="13875"/>
                  </a:lnTo>
                  <a:cubicBezTo>
                    <a:pt x="37410" y="10347"/>
                    <a:pt x="36041" y="6908"/>
                    <a:pt x="34415" y="3588"/>
                  </a:cubicBezTo>
                  <a:cubicBezTo>
                    <a:pt x="33709" y="1777"/>
                    <a:pt x="32130" y="450"/>
                    <a:pt x="30224" y="64"/>
                  </a:cubicBezTo>
                  <a:cubicBezTo>
                    <a:pt x="28699" y="-170"/>
                    <a:pt x="27145" y="244"/>
                    <a:pt x="25938" y="1207"/>
                  </a:cubicBezTo>
                  <a:cubicBezTo>
                    <a:pt x="25394" y="1763"/>
                    <a:pt x="25394" y="2652"/>
                    <a:pt x="25938" y="3207"/>
                  </a:cubicBezTo>
                  <a:cubicBezTo>
                    <a:pt x="26454" y="3734"/>
                    <a:pt x="27298" y="3742"/>
                    <a:pt x="27824" y="3227"/>
                  </a:cubicBezTo>
                  <a:cubicBezTo>
                    <a:pt x="27830" y="3220"/>
                    <a:pt x="27837" y="3214"/>
                    <a:pt x="27843" y="3207"/>
                  </a:cubicBezTo>
                  <a:cubicBezTo>
                    <a:pt x="29047" y="2359"/>
                    <a:pt x="30711" y="2647"/>
                    <a:pt x="31560" y="3851"/>
                  </a:cubicBezTo>
                  <a:cubicBezTo>
                    <a:pt x="31728" y="4090"/>
                    <a:pt x="31857" y="4355"/>
                    <a:pt x="31939" y="4636"/>
                  </a:cubicBezTo>
                  <a:cubicBezTo>
                    <a:pt x="33341" y="7722"/>
                    <a:pt x="34519" y="10906"/>
                    <a:pt x="35463" y="14161"/>
                  </a:cubicBezTo>
                  <a:lnTo>
                    <a:pt x="32796" y="15304"/>
                  </a:lnTo>
                  <a:lnTo>
                    <a:pt x="32796" y="15304"/>
                  </a:lnTo>
                  <a:cubicBezTo>
                    <a:pt x="27748" y="13018"/>
                    <a:pt x="27176" y="13590"/>
                    <a:pt x="26700" y="14161"/>
                  </a:cubicBezTo>
                  <a:cubicBezTo>
                    <a:pt x="26224" y="14733"/>
                    <a:pt x="25081" y="16161"/>
                    <a:pt x="24414" y="17209"/>
                  </a:cubicBezTo>
                  <a:lnTo>
                    <a:pt x="22985" y="17209"/>
                  </a:lnTo>
                  <a:cubicBezTo>
                    <a:pt x="22985" y="15304"/>
                    <a:pt x="21271" y="12256"/>
                    <a:pt x="18699" y="12256"/>
                  </a:cubicBezTo>
                  <a:cubicBezTo>
                    <a:pt x="17783" y="12122"/>
                    <a:pt x="16853" y="12122"/>
                    <a:pt x="15937" y="12256"/>
                  </a:cubicBezTo>
                  <a:cubicBezTo>
                    <a:pt x="15792" y="11295"/>
                    <a:pt x="15601" y="10342"/>
                    <a:pt x="15365" y="9399"/>
                  </a:cubicBezTo>
                  <a:cubicBezTo>
                    <a:pt x="15228" y="8675"/>
                    <a:pt x="14530" y="8200"/>
                    <a:pt x="13806" y="8338"/>
                  </a:cubicBezTo>
                  <a:cubicBezTo>
                    <a:pt x="13786" y="8342"/>
                    <a:pt x="13766" y="8346"/>
                    <a:pt x="13746" y="8351"/>
                  </a:cubicBezTo>
                  <a:cubicBezTo>
                    <a:pt x="13073" y="8472"/>
                    <a:pt x="12626" y="9116"/>
                    <a:pt x="12747" y="9789"/>
                  </a:cubicBezTo>
                  <a:cubicBezTo>
                    <a:pt x="12758" y="9850"/>
                    <a:pt x="12773" y="9911"/>
                    <a:pt x="12794" y="9970"/>
                  </a:cubicBezTo>
                  <a:cubicBezTo>
                    <a:pt x="12794" y="10923"/>
                    <a:pt x="12794" y="12161"/>
                    <a:pt x="13460" y="13494"/>
                  </a:cubicBezTo>
                  <a:cubicBezTo>
                    <a:pt x="13074" y="13606"/>
                    <a:pt x="12716" y="13801"/>
                    <a:pt x="12413" y="14066"/>
                  </a:cubicBezTo>
                  <a:cubicBezTo>
                    <a:pt x="11365" y="14637"/>
                    <a:pt x="10222" y="15876"/>
                    <a:pt x="10127" y="19781"/>
                  </a:cubicBezTo>
                  <a:lnTo>
                    <a:pt x="8126" y="19781"/>
                  </a:lnTo>
                  <a:cubicBezTo>
                    <a:pt x="8126" y="16447"/>
                    <a:pt x="7364" y="15780"/>
                    <a:pt x="6507" y="15495"/>
                  </a:cubicBezTo>
                  <a:cubicBezTo>
                    <a:pt x="6119" y="15291"/>
                    <a:pt x="5657" y="15291"/>
                    <a:pt x="5269" y="15495"/>
                  </a:cubicBezTo>
                  <a:lnTo>
                    <a:pt x="602" y="19019"/>
                  </a:lnTo>
                  <a:cubicBezTo>
                    <a:pt x="143" y="19294"/>
                    <a:pt x="-87" y="19831"/>
                    <a:pt x="30" y="20352"/>
                  </a:cubicBezTo>
                  <a:lnTo>
                    <a:pt x="506" y="22353"/>
                  </a:lnTo>
                  <a:cubicBezTo>
                    <a:pt x="728" y="23043"/>
                    <a:pt x="1405" y="23481"/>
                    <a:pt x="2126" y="23400"/>
                  </a:cubicBezTo>
                  <a:lnTo>
                    <a:pt x="5555" y="22829"/>
                  </a:lnTo>
                  <a:cubicBezTo>
                    <a:pt x="5247" y="24492"/>
                    <a:pt x="3969" y="25807"/>
                    <a:pt x="2316" y="26163"/>
                  </a:cubicBezTo>
                  <a:cubicBezTo>
                    <a:pt x="1580" y="26163"/>
                    <a:pt x="983" y="26760"/>
                    <a:pt x="983" y="27496"/>
                  </a:cubicBezTo>
                  <a:cubicBezTo>
                    <a:pt x="983" y="28233"/>
                    <a:pt x="1580" y="28830"/>
                    <a:pt x="2316" y="28830"/>
                  </a:cubicBezTo>
                  <a:cubicBezTo>
                    <a:pt x="3853" y="28556"/>
                    <a:pt x="5258" y="27787"/>
                    <a:pt x="6317" y="26639"/>
                  </a:cubicBezTo>
                  <a:cubicBezTo>
                    <a:pt x="7422" y="25470"/>
                    <a:pt x="8095" y="23957"/>
                    <a:pt x="8222" y="22353"/>
                  </a:cubicBezTo>
                  <a:lnTo>
                    <a:pt x="15461" y="21115"/>
                  </a:lnTo>
                  <a:cubicBezTo>
                    <a:pt x="15759" y="22281"/>
                    <a:pt x="16277" y="23379"/>
                    <a:pt x="16985" y="24353"/>
                  </a:cubicBezTo>
                  <a:cubicBezTo>
                    <a:pt x="17584" y="24970"/>
                    <a:pt x="18410" y="25314"/>
                    <a:pt x="19271" y="25305"/>
                  </a:cubicBezTo>
                  <a:cubicBezTo>
                    <a:pt x="20030" y="25397"/>
                    <a:pt x="20797" y="25397"/>
                    <a:pt x="21557" y="25305"/>
                  </a:cubicBezTo>
                  <a:cubicBezTo>
                    <a:pt x="22128" y="25305"/>
                    <a:pt x="23843" y="24258"/>
                    <a:pt x="23843" y="22734"/>
                  </a:cubicBezTo>
                  <a:lnTo>
                    <a:pt x="23843" y="20162"/>
                  </a:lnTo>
                  <a:lnTo>
                    <a:pt x="24986" y="20162"/>
                  </a:lnTo>
                  <a:lnTo>
                    <a:pt x="24986" y="20162"/>
                  </a:lnTo>
                  <a:cubicBezTo>
                    <a:pt x="26835" y="21001"/>
                    <a:pt x="28866" y="21362"/>
                    <a:pt x="30891" y="21210"/>
                  </a:cubicBezTo>
                  <a:cubicBezTo>
                    <a:pt x="32057" y="20610"/>
                    <a:pt x="32844" y="19465"/>
                    <a:pt x="32987" y="18162"/>
                  </a:cubicBezTo>
                  <a:lnTo>
                    <a:pt x="37273" y="16542"/>
                  </a:lnTo>
                  <a:lnTo>
                    <a:pt x="43750" y="15399"/>
                  </a:lnTo>
                  <a:cubicBezTo>
                    <a:pt x="44504" y="15255"/>
                    <a:pt x="45009" y="14539"/>
                    <a:pt x="44893" y="13780"/>
                  </a:cubicBezTo>
                  <a:cubicBezTo>
                    <a:pt x="44729" y="13360"/>
                    <a:pt x="44375" y="13042"/>
                    <a:pt x="43940" y="12923"/>
                  </a:cubicBezTo>
                  <a:close/>
                  <a:moveTo>
                    <a:pt x="3269" y="21305"/>
                  </a:moveTo>
                  <a:lnTo>
                    <a:pt x="5459" y="19686"/>
                  </a:lnTo>
                  <a:cubicBezTo>
                    <a:pt x="5459" y="19686"/>
                    <a:pt x="5459" y="20352"/>
                    <a:pt x="5459" y="20829"/>
                  </a:cubicBezTo>
                  <a:close/>
                  <a:moveTo>
                    <a:pt x="12794" y="19686"/>
                  </a:moveTo>
                  <a:cubicBezTo>
                    <a:pt x="12794" y="17209"/>
                    <a:pt x="13651" y="16733"/>
                    <a:pt x="13841" y="16638"/>
                  </a:cubicBezTo>
                  <a:lnTo>
                    <a:pt x="13841" y="16638"/>
                  </a:lnTo>
                  <a:cubicBezTo>
                    <a:pt x="14008" y="17602"/>
                    <a:pt x="14231" y="18557"/>
                    <a:pt x="14508" y="19495"/>
                  </a:cubicBezTo>
                  <a:close/>
                  <a:moveTo>
                    <a:pt x="16604" y="15685"/>
                  </a:moveTo>
                  <a:lnTo>
                    <a:pt x="18794" y="15685"/>
                  </a:lnTo>
                  <a:cubicBezTo>
                    <a:pt x="19366" y="15685"/>
                    <a:pt x="20033" y="16923"/>
                    <a:pt x="20414" y="18352"/>
                  </a:cubicBezTo>
                  <a:lnTo>
                    <a:pt x="17461" y="18924"/>
                  </a:lnTo>
                  <a:cubicBezTo>
                    <a:pt x="17080" y="17876"/>
                    <a:pt x="16889" y="16828"/>
                    <a:pt x="16508" y="15685"/>
                  </a:cubicBezTo>
                  <a:close/>
                  <a:moveTo>
                    <a:pt x="21271" y="22638"/>
                  </a:moveTo>
                  <a:cubicBezTo>
                    <a:pt x="20744" y="22984"/>
                    <a:pt x="20165" y="23241"/>
                    <a:pt x="19556" y="23400"/>
                  </a:cubicBezTo>
                  <a:cubicBezTo>
                    <a:pt x="19556" y="23400"/>
                    <a:pt x="19556" y="23400"/>
                    <a:pt x="19556" y="23400"/>
                  </a:cubicBezTo>
                  <a:cubicBezTo>
                    <a:pt x="19556" y="23400"/>
                    <a:pt x="19080" y="22543"/>
                    <a:pt x="18699" y="21591"/>
                  </a:cubicBezTo>
                  <a:lnTo>
                    <a:pt x="21747" y="21115"/>
                  </a:lnTo>
                  <a:close/>
                  <a:moveTo>
                    <a:pt x="30796" y="18733"/>
                  </a:moveTo>
                  <a:cubicBezTo>
                    <a:pt x="29721" y="18744"/>
                    <a:pt x="28655" y="18550"/>
                    <a:pt x="27653" y="18162"/>
                  </a:cubicBezTo>
                  <a:cubicBezTo>
                    <a:pt x="28071" y="17740"/>
                    <a:pt x="28424" y="17258"/>
                    <a:pt x="28700" y="16733"/>
                  </a:cubicBezTo>
                  <a:cubicBezTo>
                    <a:pt x="29548" y="16989"/>
                    <a:pt x="30376" y="17307"/>
                    <a:pt x="31177" y="17685"/>
                  </a:cubicBezTo>
                  <a:cubicBezTo>
                    <a:pt x="31085" y="18203"/>
                    <a:pt x="30772" y="18655"/>
                    <a:pt x="30320" y="18924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BFA0115-24C8-49E1-B1E2-E859F72BD065}"/>
                </a:ext>
              </a:extLst>
            </p:cNvPr>
            <p:cNvSpPr/>
            <p:nvPr/>
          </p:nvSpPr>
          <p:spPr>
            <a:xfrm>
              <a:off x="6203156" y="25495553"/>
              <a:ext cx="3333" cy="3333"/>
            </a:xfrm>
            <a:custGeom>
              <a:avLst/>
              <a:gdLst>
                <a:gd name="connsiteX0" fmla="*/ 3334 w 3333"/>
                <a:gd name="connsiteY0" fmla="*/ 1715 h 3333"/>
                <a:gd name="connsiteX1" fmla="*/ 1715 w 3333"/>
                <a:gd name="connsiteY1" fmla="*/ 0 h 3333"/>
                <a:gd name="connsiteX2" fmla="*/ 0 w 3333"/>
                <a:gd name="connsiteY2" fmla="*/ 1715 h 3333"/>
                <a:gd name="connsiteX3" fmla="*/ 1715 w 3333"/>
                <a:gd name="connsiteY3" fmla="*/ 3334 h 3333"/>
                <a:gd name="connsiteX4" fmla="*/ 3334 w 3333"/>
                <a:gd name="connsiteY4" fmla="*/ 1715 h 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333">
                  <a:moveTo>
                    <a:pt x="3334" y="1715"/>
                  </a:moveTo>
                  <a:cubicBezTo>
                    <a:pt x="3335" y="804"/>
                    <a:pt x="2624" y="51"/>
                    <a:pt x="1715" y="0"/>
                  </a:cubicBezTo>
                  <a:cubicBezTo>
                    <a:pt x="768" y="0"/>
                    <a:pt x="0" y="768"/>
                    <a:pt x="0" y="1715"/>
                  </a:cubicBezTo>
                  <a:cubicBezTo>
                    <a:pt x="51" y="2624"/>
                    <a:pt x="804" y="3335"/>
                    <a:pt x="1715" y="3334"/>
                  </a:cubicBezTo>
                  <a:cubicBezTo>
                    <a:pt x="2571" y="3247"/>
                    <a:pt x="3248" y="2570"/>
                    <a:pt x="3334" y="1715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CB25E9B2-73D9-4349-8A43-71C69000E51B}"/>
                </a:ext>
              </a:extLst>
            </p:cNvPr>
            <p:cNvSpPr/>
            <p:nvPr/>
          </p:nvSpPr>
          <p:spPr>
            <a:xfrm>
              <a:off x="6107522" y="25488791"/>
              <a:ext cx="3241" cy="3241"/>
            </a:xfrm>
            <a:custGeom>
              <a:avLst/>
              <a:gdLst>
                <a:gd name="connsiteX0" fmla="*/ 1622 w 3241"/>
                <a:gd name="connsiteY0" fmla="*/ 3238 h 3241"/>
                <a:gd name="connsiteX1" fmla="*/ 3242 w 3241"/>
                <a:gd name="connsiteY1" fmla="*/ 1619 h 3241"/>
                <a:gd name="connsiteX2" fmla="*/ 1622 w 3241"/>
                <a:gd name="connsiteY2" fmla="*/ 0 h 3241"/>
                <a:gd name="connsiteX3" fmla="*/ 3 w 3241"/>
                <a:gd name="connsiteY3" fmla="*/ 1619 h 3241"/>
                <a:gd name="connsiteX4" fmla="*/ 1426 w 3241"/>
                <a:gd name="connsiteY4" fmla="*/ 3238 h 3241"/>
                <a:gd name="connsiteX5" fmla="*/ 1622 w 3241"/>
                <a:gd name="connsiteY5" fmla="*/ 3238 h 3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1" h="3241">
                  <a:moveTo>
                    <a:pt x="1622" y="3238"/>
                  </a:moveTo>
                  <a:cubicBezTo>
                    <a:pt x="2517" y="3238"/>
                    <a:pt x="3242" y="2514"/>
                    <a:pt x="3242" y="1619"/>
                  </a:cubicBezTo>
                  <a:cubicBezTo>
                    <a:pt x="3242" y="725"/>
                    <a:pt x="2517" y="0"/>
                    <a:pt x="1622" y="0"/>
                  </a:cubicBezTo>
                  <a:cubicBezTo>
                    <a:pt x="728" y="0"/>
                    <a:pt x="3" y="725"/>
                    <a:pt x="3" y="1619"/>
                  </a:cubicBezTo>
                  <a:cubicBezTo>
                    <a:pt x="-51" y="2459"/>
                    <a:pt x="586" y="3184"/>
                    <a:pt x="1426" y="3238"/>
                  </a:cubicBezTo>
                  <a:cubicBezTo>
                    <a:pt x="1491" y="3243"/>
                    <a:pt x="1557" y="3243"/>
                    <a:pt x="1622" y="3238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6C1ECEFD-CC1D-4105-AA3D-CF9139EF6E3F}"/>
                </a:ext>
              </a:extLst>
            </p:cNvPr>
            <p:cNvSpPr/>
            <p:nvPr/>
          </p:nvSpPr>
          <p:spPr>
            <a:xfrm>
              <a:off x="6108192" y="25502507"/>
              <a:ext cx="3238" cy="3238"/>
            </a:xfrm>
            <a:custGeom>
              <a:avLst/>
              <a:gdLst>
                <a:gd name="connsiteX0" fmla="*/ 3239 w 3238"/>
                <a:gd name="connsiteY0" fmla="*/ 1619 h 3238"/>
                <a:gd name="connsiteX1" fmla="*/ 1619 w 3238"/>
                <a:gd name="connsiteY1" fmla="*/ 3238 h 3238"/>
                <a:gd name="connsiteX2" fmla="*/ 0 w 3238"/>
                <a:gd name="connsiteY2" fmla="*/ 1619 h 3238"/>
                <a:gd name="connsiteX3" fmla="*/ 1619 w 3238"/>
                <a:gd name="connsiteY3" fmla="*/ 0 h 3238"/>
                <a:gd name="connsiteX4" fmla="*/ 3239 w 3238"/>
                <a:gd name="connsiteY4" fmla="*/ 1619 h 3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" h="3238">
                  <a:moveTo>
                    <a:pt x="3239" y="1619"/>
                  </a:moveTo>
                  <a:cubicBezTo>
                    <a:pt x="3239" y="2514"/>
                    <a:pt x="2514" y="3238"/>
                    <a:pt x="1619" y="3238"/>
                  </a:cubicBezTo>
                  <a:cubicBezTo>
                    <a:pt x="725" y="3238"/>
                    <a:pt x="0" y="2514"/>
                    <a:pt x="0" y="1619"/>
                  </a:cubicBezTo>
                  <a:cubicBezTo>
                    <a:pt x="0" y="725"/>
                    <a:pt x="725" y="0"/>
                    <a:pt x="1619" y="0"/>
                  </a:cubicBezTo>
                  <a:cubicBezTo>
                    <a:pt x="2514" y="0"/>
                    <a:pt x="3239" y="725"/>
                    <a:pt x="3239" y="1619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91F3D4F0-2A16-40ED-B080-7BD2E7321CF8}"/>
                </a:ext>
              </a:extLst>
            </p:cNvPr>
            <p:cNvSpPr/>
            <p:nvPr/>
          </p:nvSpPr>
          <p:spPr>
            <a:xfrm>
              <a:off x="6112859" y="25504031"/>
              <a:ext cx="3238" cy="3238"/>
            </a:xfrm>
            <a:custGeom>
              <a:avLst/>
              <a:gdLst>
                <a:gd name="connsiteX0" fmla="*/ 3238 w 3238"/>
                <a:gd name="connsiteY0" fmla="*/ 1619 h 3238"/>
                <a:gd name="connsiteX1" fmla="*/ 1619 w 3238"/>
                <a:gd name="connsiteY1" fmla="*/ 3238 h 3238"/>
                <a:gd name="connsiteX2" fmla="*/ 0 w 3238"/>
                <a:gd name="connsiteY2" fmla="*/ 1619 h 3238"/>
                <a:gd name="connsiteX3" fmla="*/ 1619 w 3238"/>
                <a:gd name="connsiteY3" fmla="*/ 0 h 3238"/>
                <a:gd name="connsiteX4" fmla="*/ 3238 w 3238"/>
                <a:gd name="connsiteY4" fmla="*/ 1619 h 3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" h="3238">
                  <a:moveTo>
                    <a:pt x="3238" y="1619"/>
                  </a:moveTo>
                  <a:cubicBezTo>
                    <a:pt x="3238" y="2514"/>
                    <a:pt x="2514" y="3238"/>
                    <a:pt x="1619" y="3238"/>
                  </a:cubicBezTo>
                  <a:cubicBezTo>
                    <a:pt x="725" y="3238"/>
                    <a:pt x="0" y="2514"/>
                    <a:pt x="0" y="1619"/>
                  </a:cubicBezTo>
                  <a:cubicBezTo>
                    <a:pt x="0" y="725"/>
                    <a:pt x="725" y="0"/>
                    <a:pt x="1619" y="0"/>
                  </a:cubicBezTo>
                  <a:cubicBezTo>
                    <a:pt x="2514" y="0"/>
                    <a:pt x="3238" y="725"/>
                    <a:pt x="3238" y="1619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D62BC5C0-2404-49B3-A0CE-5D21FF6EE13A}"/>
                </a:ext>
              </a:extLst>
            </p:cNvPr>
            <p:cNvSpPr/>
            <p:nvPr/>
          </p:nvSpPr>
          <p:spPr>
            <a:xfrm>
              <a:off x="6119907" y="25505936"/>
              <a:ext cx="3238" cy="3238"/>
            </a:xfrm>
            <a:custGeom>
              <a:avLst/>
              <a:gdLst>
                <a:gd name="connsiteX0" fmla="*/ 3239 w 3238"/>
                <a:gd name="connsiteY0" fmla="*/ 1619 h 3238"/>
                <a:gd name="connsiteX1" fmla="*/ 1619 w 3238"/>
                <a:gd name="connsiteY1" fmla="*/ 3239 h 3238"/>
                <a:gd name="connsiteX2" fmla="*/ 0 w 3238"/>
                <a:gd name="connsiteY2" fmla="*/ 1619 h 3238"/>
                <a:gd name="connsiteX3" fmla="*/ 1619 w 3238"/>
                <a:gd name="connsiteY3" fmla="*/ 0 h 3238"/>
                <a:gd name="connsiteX4" fmla="*/ 3239 w 3238"/>
                <a:gd name="connsiteY4" fmla="*/ 1619 h 3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" h="3238">
                  <a:moveTo>
                    <a:pt x="3239" y="1619"/>
                  </a:moveTo>
                  <a:cubicBezTo>
                    <a:pt x="3239" y="2514"/>
                    <a:pt x="2514" y="3239"/>
                    <a:pt x="1619" y="3239"/>
                  </a:cubicBezTo>
                  <a:cubicBezTo>
                    <a:pt x="725" y="3239"/>
                    <a:pt x="0" y="2514"/>
                    <a:pt x="0" y="1619"/>
                  </a:cubicBezTo>
                  <a:cubicBezTo>
                    <a:pt x="0" y="725"/>
                    <a:pt x="725" y="0"/>
                    <a:pt x="1619" y="0"/>
                  </a:cubicBezTo>
                  <a:cubicBezTo>
                    <a:pt x="2514" y="0"/>
                    <a:pt x="3239" y="725"/>
                    <a:pt x="3239" y="1619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36C1574D-32DB-4E30-939E-0526966FACA8}"/>
                </a:ext>
              </a:extLst>
            </p:cNvPr>
            <p:cNvSpPr/>
            <p:nvPr/>
          </p:nvSpPr>
          <p:spPr>
            <a:xfrm>
              <a:off x="6203156" y="25500336"/>
              <a:ext cx="3333" cy="3028"/>
            </a:xfrm>
            <a:custGeom>
              <a:avLst/>
              <a:gdLst>
                <a:gd name="connsiteX0" fmla="*/ 3334 w 3333"/>
                <a:gd name="connsiteY0" fmla="*/ 1314 h 3028"/>
                <a:gd name="connsiteX1" fmla="*/ 1266 w 3333"/>
                <a:gd name="connsiteY1" fmla="*/ 48 h 3028"/>
                <a:gd name="connsiteX2" fmla="*/ 0 w 3333"/>
                <a:gd name="connsiteY2" fmla="*/ 1314 h 3028"/>
                <a:gd name="connsiteX3" fmla="*/ 1715 w 3333"/>
                <a:gd name="connsiteY3" fmla="*/ 3028 h 3028"/>
                <a:gd name="connsiteX4" fmla="*/ 3334 w 3333"/>
                <a:gd name="connsiteY4" fmla="*/ 1314 h 3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028">
                  <a:moveTo>
                    <a:pt x="3334" y="1314"/>
                  </a:moveTo>
                  <a:cubicBezTo>
                    <a:pt x="3112" y="393"/>
                    <a:pt x="2186" y="-174"/>
                    <a:pt x="1266" y="48"/>
                  </a:cubicBezTo>
                  <a:cubicBezTo>
                    <a:pt x="640" y="199"/>
                    <a:pt x="151" y="688"/>
                    <a:pt x="0" y="1314"/>
                  </a:cubicBezTo>
                  <a:cubicBezTo>
                    <a:pt x="0" y="2260"/>
                    <a:pt x="768" y="3028"/>
                    <a:pt x="1715" y="3028"/>
                  </a:cubicBezTo>
                  <a:cubicBezTo>
                    <a:pt x="2624" y="2977"/>
                    <a:pt x="3335" y="2224"/>
                    <a:pt x="3334" y="1314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54E2258-EB56-4CDD-89DA-06FC1671F897}"/>
                </a:ext>
              </a:extLst>
            </p:cNvPr>
            <p:cNvSpPr/>
            <p:nvPr/>
          </p:nvSpPr>
          <p:spPr>
            <a:xfrm>
              <a:off x="6208204" y="25513936"/>
              <a:ext cx="3429" cy="3333"/>
            </a:xfrm>
            <a:custGeom>
              <a:avLst/>
              <a:gdLst>
                <a:gd name="connsiteX0" fmla="*/ 1715 w 3429"/>
                <a:gd name="connsiteY0" fmla="*/ 0 h 3333"/>
                <a:gd name="connsiteX1" fmla="*/ 0 w 3429"/>
                <a:gd name="connsiteY1" fmla="*/ 1619 h 3333"/>
                <a:gd name="connsiteX2" fmla="*/ 1715 w 3429"/>
                <a:gd name="connsiteY2" fmla="*/ 3334 h 3333"/>
                <a:gd name="connsiteX3" fmla="*/ 3429 w 3429"/>
                <a:gd name="connsiteY3" fmla="*/ 1619 h 3333"/>
                <a:gd name="connsiteX4" fmla="*/ 1715 w 3429"/>
                <a:gd name="connsiteY4" fmla="*/ 0 h 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" h="3333">
                  <a:moveTo>
                    <a:pt x="1715" y="0"/>
                  </a:moveTo>
                  <a:cubicBezTo>
                    <a:pt x="804" y="-1"/>
                    <a:pt x="51" y="710"/>
                    <a:pt x="0" y="1619"/>
                  </a:cubicBezTo>
                  <a:cubicBezTo>
                    <a:pt x="0" y="2566"/>
                    <a:pt x="768" y="3334"/>
                    <a:pt x="1715" y="3334"/>
                  </a:cubicBezTo>
                  <a:cubicBezTo>
                    <a:pt x="2661" y="3334"/>
                    <a:pt x="3429" y="2566"/>
                    <a:pt x="3429" y="1619"/>
                  </a:cubicBezTo>
                  <a:cubicBezTo>
                    <a:pt x="3378" y="710"/>
                    <a:pt x="2625" y="-1"/>
                    <a:pt x="1715" y="0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61F3FCC-48CB-481E-B9D0-D3257F5F1D3E}"/>
                </a:ext>
              </a:extLst>
            </p:cNvPr>
            <p:cNvSpPr/>
            <p:nvPr/>
          </p:nvSpPr>
          <p:spPr>
            <a:xfrm>
              <a:off x="6212395" y="25513365"/>
              <a:ext cx="3238" cy="3238"/>
            </a:xfrm>
            <a:custGeom>
              <a:avLst/>
              <a:gdLst>
                <a:gd name="connsiteX0" fmla="*/ 1619 w 3238"/>
                <a:gd name="connsiteY0" fmla="*/ 0 h 3238"/>
                <a:gd name="connsiteX1" fmla="*/ 0 w 3238"/>
                <a:gd name="connsiteY1" fmla="*/ 1619 h 3238"/>
                <a:gd name="connsiteX2" fmla="*/ 1619 w 3238"/>
                <a:gd name="connsiteY2" fmla="*/ 3238 h 3238"/>
                <a:gd name="connsiteX3" fmla="*/ 3238 w 3238"/>
                <a:gd name="connsiteY3" fmla="*/ 1619 h 3238"/>
                <a:gd name="connsiteX4" fmla="*/ 1619 w 3238"/>
                <a:gd name="connsiteY4" fmla="*/ 0 h 3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" h="3238">
                  <a:moveTo>
                    <a:pt x="1619" y="0"/>
                  </a:moveTo>
                  <a:cubicBezTo>
                    <a:pt x="725" y="0"/>
                    <a:pt x="0" y="725"/>
                    <a:pt x="0" y="1619"/>
                  </a:cubicBezTo>
                  <a:cubicBezTo>
                    <a:pt x="0" y="2514"/>
                    <a:pt x="725" y="3238"/>
                    <a:pt x="1619" y="3238"/>
                  </a:cubicBezTo>
                  <a:cubicBezTo>
                    <a:pt x="2514" y="3238"/>
                    <a:pt x="3238" y="2514"/>
                    <a:pt x="3238" y="1619"/>
                  </a:cubicBezTo>
                  <a:cubicBezTo>
                    <a:pt x="3238" y="725"/>
                    <a:pt x="2514" y="0"/>
                    <a:pt x="1619" y="0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0EF2DE36-2140-4EE4-A910-F05B7C14BCB3}"/>
                </a:ext>
              </a:extLst>
            </p:cNvPr>
            <p:cNvSpPr/>
            <p:nvPr/>
          </p:nvSpPr>
          <p:spPr>
            <a:xfrm>
              <a:off x="6266803" y="25504412"/>
              <a:ext cx="3028" cy="3333"/>
            </a:xfrm>
            <a:custGeom>
              <a:avLst/>
              <a:gdLst>
                <a:gd name="connsiteX0" fmla="*/ 1314 w 3028"/>
                <a:gd name="connsiteY0" fmla="*/ 0 h 3333"/>
                <a:gd name="connsiteX1" fmla="*/ 48 w 3028"/>
                <a:gd name="connsiteY1" fmla="*/ 2068 h 3333"/>
                <a:gd name="connsiteX2" fmla="*/ 1314 w 3028"/>
                <a:gd name="connsiteY2" fmla="*/ 3334 h 3333"/>
                <a:gd name="connsiteX3" fmla="*/ 3028 w 3028"/>
                <a:gd name="connsiteY3" fmla="*/ 1715 h 3333"/>
                <a:gd name="connsiteX4" fmla="*/ 1314 w 3028"/>
                <a:gd name="connsiteY4" fmla="*/ 0 h 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8" h="3333">
                  <a:moveTo>
                    <a:pt x="1314" y="0"/>
                  </a:moveTo>
                  <a:cubicBezTo>
                    <a:pt x="393" y="222"/>
                    <a:pt x="-174" y="1148"/>
                    <a:pt x="48" y="2068"/>
                  </a:cubicBezTo>
                  <a:cubicBezTo>
                    <a:pt x="199" y="2694"/>
                    <a:pt x="688" y="3183"/>
                    <a:pt x="1314" y="3334"/>
                  </a:cubicBezTo>
                  <a:cubicBezTo>
                    <a:pt x="2225" y="3335"/>
                    <a:pt x="2977" y="2624"/>
                    <a:pt x="3028" y="1715"/>
                  </a:cubicBezTo>
                  <a:cubicBezTo>
                    <a:pt x="3028" y="768"/>
                    <a:pt x="2260" y="0"/>
                    <a:pt x="1314" y="0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2F67B056-8869-4C82-9951-4BFE92D401B0}"/>
                </a:ext>
              </a:extLst>
            </p:cNvPr>
            <p:cNvSpPr/>
            <p:nvPr/>
          </p:nvSpPr>
          <p:spPr>
            <a:xfrm>
              <a:off x="6069545" y="25199906"/>
              <a:ext cx="240576" cy="327651"/>
            </a:xfrm>
            <a:custGeom>
              <a:avLst/>
              <a:gdLst>
                <a:gd name="connsiteX0" fmla="*/ 240577 w 240576"/>
                <a:gd name="connsiteY0" fmla="*/ 277740 h 327651"/>
                <a:gd name="connsiteX1" fmla="*/ 240577 w 240576"/>
                <a:gd name="connsiteY1" fmla="*/ 277168 h 327651"/>
                <a:gd name="connsiteX2" fmla="*/ 240577 w 240576"/>
                <a:gd name="connsiteY2" fmla="*/ 269644 h 327651"/>
                <a:gd name="connsiteX3" fmla="*/ 239910 w 240576"/>
                <a:gd name="connsiteY3" fmla="*/ 255451 h 327651"/>
                <a:gd name="connsiteX4" fmla="*/ 239053 w 240576"/>
                <a:gd name="connsiteY4" fmla="*/ 236401 h 327651"/>
                <a:gd name="connsiteX5" fmla="*/ 234671 w 240576"/>
                <a:gd name="connsiteY5" fmla="*/ 137627 h 327651"/>
                <a:gd name="connsiteX6" fmla="*/ 233719 w 240576"/>
                <a:gd name="connsiteY6" fmla="*/ 114577 h 327651"/>
                <a:gd name="connsiteX7" fmla="*/ 232195 w 240576"/>
                <a:gd name="connsiteY7" fmla="*/ 75905 h 327651"/>
                <a:gd name="connsiteX8" fmla="*/ 219146 w 240576"/>
                <a:gd name="connsiteY8" fmla="*/ 56188 h 327651"/>
                <a:gd name="connsiteX9" fmla="*/ 181046 w 240576"/>
                <a:gd name="connsiteY9" fmla="*/ 66285 h 327651"/>
                <a:gd name="connsiteX10" fmla="*/ 174092 w 240576"/>
                <a:gd name="connsiteY10" fmla="*/ 69809 h 327651"/>
                <a:gd name="connsiteX11" fmla="*/ 150375 w 240576"/>
                <a:gd name="connsiteY11" fmla="*/ 74095 h 327651"/>
                <a:gd name="connsiteX12" fmla="*/ 146660 w 240576"/>
                <a:gd name="connsiteY12" fmla="*/ 66666 h 327651"/>
                <a:gd name="connsiteX13" fmla="*/ 143708 w 240576"/>
                <a:gd name="connsiteY13" fmla="*/ 57141 h 327651"/>
                <a:gd name="connsiteX14" fmla="*/ 142755 w 240576"/>
                <a:gd name="connsiteY14" fmla="*/ 34662 h 327651"/>
                <a:gd name="connsiteX15" fmla="*/ 142755 w 240576"/>
                <a:gd name="connsiteY15" fmla="*/ 28852 h 327651"/>
                <a:gd name="connsiteX16" fmla="*/ 139136 w 240576"/>
                <a:gd name="connsiteY16" fmla="*/ 11135 h 327651"/>
                <a:gd name="connsiteX17" fmla="*/ 139136 w 240576"/>
                <a:gd name="connsiteY17" fmla="*/ 10278 h 327651"/>
                <a:gd name="connsiteX18" fmla="*/ 128849 w 240576"/>
                <a:gd name="connsiteY18" fmla="*/ 2848 h 327651"/>
                <a:gd name="connsiteX19" fmla="*/ 120276 w 240576"/>
                <a:gd name="connsiteY19" fmla="*/ 1134 h 327651"/>
                <a:gd name="connsiteX20" fmla="*/ 112656 w 240576"/>
                <a:gd name="connsiteY20" fmla="*/ 467 h 327651"/>
                <a:gd name="connsiteX21" fmla="*/ 110751 w 240576"/>
                <a:gd name="connsiteY21" fmla="*/ 2182 h 327651"/>
                <a:gd name="connsiteX22" fmla="*/ 96845 w 240576"/>
                <a:gd name="connsiteY22" fmla="*/ 658 h 327651"/>
                <a:gd name="connsiteX23" fmla="*/ 89415 w 240576"/>
                <a:gd name="connsiteY23" fmla="*/ 6087 h 327651"/>
                <a:gd name="connsiteX24" fmla="*/ 89415 w 240576"/>
                <a:gd name="connsiteY24" fmla="*/ 6754 h 327651"/>
                <a:gd name="connsiteX25" fmla="*/ 89415 w 240576"/>
                <a:gd name="connsiteY25" fmla="*/ 7325 h 327651"/>
                <a:gd name="connsiteX26" fmla="*/ 89415 w 240576"/>
                <a:gd name="connsiteY26" fmla="*/ 14564 h 327651"/>
                <a:gd name="connsiteX27" fmla="*/ 89415 w 240576"/>
                <a:gd name="connsiteY27" fmla="*/ 14564 h 327651"/>
                <a:gd name="connsiteX28" fmla="*/ 89415 w 240576"/>
                <a:gd name="connsiteY28" fmla="*/ 14564 h 327651"/>
                <a:gd name="connsiteX29" fmla="*/ 89415 w 240576"/>
                <a:gd name="connsiteY29" fmla="*/ 14564 h 327651"/>
                <a:gd name="connsiteX30" fmla="*/ 91225 w 240576"/>
                <a:gd name="connsiteY30" fmla="*/ 14564 h 327651"/>
                <a:gd name="connsiteX31" fmla="*/ 91225 w 240576"/>
                <a:gd name="connsiteY31" fmla="*/ 14564 h 327651"/>
                <a:gd name="connsiteX32" fmla="*/ 91225 w 240576"/>
                <a:gd name="connsiteY32" fmla="*/ 14564 h 327651"/>
                <a:gd name="connsiteX33" fmla="*/ 92749 w 240576"/>
                <a:gd name="connsiteY33" fmla="*/ 13993 h 327651"/>
                <a:gd name="connsiteX34" fmla="*/ 94082 w 240576"/>
                <a:gd name="connsiteY34" fmla="*/ 13421 h 327651"/>
                <a:gd name="connsiteX35" fmla="*/ 97130 w 240576"/>
                <a:gd name="connsiteY35" fmla="*/ 13421 h 327651"/>
                <a:gd name="connsiteX36" fmla="*/ 103703 w 240576"/>
                <a:gd name="connsiteY36" fmla="*/ 19327 h 327651"/>
                <a:gd name="connsiteX37" fmla="*/ 105608 w 240576"/>
                <a:gd name="connsiteY37" fmla="*/ 24089 h 327651"/>
                <a:gd name="connsiteX38" fmla="*/ 106179 w 240576"/>
                <a:gd name="connsiteY38" fmla="*/ 28471 h 327651"/>
                <a:gd name="connsiteX39" fmla="*/ 105322 w 240576"/>
                <a:gd name="connsiteY39" fmla="*/ 39139 h 327651"/>
                <a:gd name="connsiteX40" fmla="*/ 105322 w 240576"/>
                <a:gd name="connsiteY40" fmla="*/ 40282 h 327651"/>
                <a:gd name="connsiteX41" fmla="*/ 91320 w 240576"/>
                <a:gd name="connsiteY41" fmla="*/ 74191 h 327651"/>
                <a:gd name="connsiteX42" fmla="*/ 66841 w 240576"/>
                <a:gd name="connsiteY42" fmla="*/ 69904 h 327651"/>
                <a:gd name="connsiteX43" fmla="*/ 59888 w 240576"/>
                <a:gd name="connsiteY43" fmla="*/ 66380 h 327651"/>
                <a:gd name="connsiteX44" fmla="*/ 21788 w 240576"/>
                <a:gd name="connsiteY44" fmla="*/ 56284 h 327651"/>
                <a:gd name="connsiteX45" fmla="*/ 8643 w 240576"/>
                <a:gd name="connsiteY45" fmla="*/ 76000 h 327651"/>
                <a:gd name="connsiteX46" fmla="*/ 7024 w 240576"/>
                <a:gd name="connsiteY46" fmla="*/ 114100 h 327651"/>
                <a:gd name="connsiteX47" fmla="*/ 5976 w 240576"/>
                <a:gd name="connsiteY47" fmla="*/ 137151 h 327651"/>
                <a:gd name="connsiteX48" fmla="*/ 1690 w 240576"/>
                <a:gd name="connsiteY48" fmla="*/ 235925 h 327651"/>
                <a:gd name="connsiteX49" fmla="*/ 833 w 240576"/>
                <a:gd name="connsiteY49" fmla="*/ 254975 h 327651"/>
                <a:gd name="connsiteX50" fmla="*/ 166 w 240576"/>
                <a:gd name="connsiteY50" fmla="*/ 269167 h 327651"/>
                <a:gd name="connsiteX51" fmla="*/ 166 w 240576"/>
                <a:gd name="connsiteY51" fmla="*/ 276692 h 327651"/>
                <a:gd name="connsiteX52" fmla="*/ 166 w 240576"/>
                <a:gd name="connsiteY52" fmla="*/ 277264 h 327651"/>
                <a:gd name="connsiteX53" fmla="*/ 166 w 240576"/>
                <a:gd name="connsiteY53" fmla="*/ 278502 h 327651"/>
                <a:gd name="connsiteX54" fmla="*/ 928 w 240576"/>
                <a:gd name="connsiteY54" fmla="*/ 278502 h 327651"/>
                <a:gd name="connsiteX55" fmla="*/ 1690 w 240576"/>
                <a:gd name="connsiteY55" fmla="*/ 278502 h 327651"/>
                <a:gd name="connsiteX56" fmla="*/ 1690 w 240576"/>
                <a:gd name="connsiteY56" fmla="*/ 278502 h 327651"/>
                <a:gd name="connsiteX57" fmla="*/ 15025 w 240576"/>
                <a:gd name="connsiteY57" fmla="*/ 266405 h 327651"/>
                <a:gd name="connsiteX58" fmla="*/ 19883 w 240576"/>
                <a:gd name="connsiteY58" fmla="*/ 262119 h 327651"/>
                <a:gd name="connsiteX59" fmla="*/ 20740 w 240576"/>
                <a:gd name="connsiteY59" fmla="*/ 261452 h 327651"/>
                <a:gd name="connsiteX60" fmla="*/ 39028 w 240576"/>
                <a:gd name="connsiteY60" fmla="*/ 244974 h 327651"/>
                <a:gd name="connsiteX61" fmla="*/ 39028 w 240576"/>
                <a:gd name="connsiteY61" fmla="*/ 244974 h 327651"/>
                <a:gd name="connsiteX62" fmla="*/ 39695 w 240576"/>
                <a:gd name="connsiteY62" fmla="*/ 244212 h 327651"/>
                <a:gd name="connsiteX63" fmla="*/ 49220 w 240576"/>
                <a:gd name="connsiteY63" fmla="*/ 236020 h 327651"/>
                <a:gd name="connsiteX64" fmla="*/ 55316 w 240576"/>
                <a:gd name="connsiteY64" fmla="*/ 230496 h 327651"/>
                <a:gd name="connsiteX65" fmla="*/ 56173 w 240576"/>
                <a:gd name="connsiteY65" fmla="*/ 229639 h 327651"/>
                <a:gd name="connsiteX66" fmla="*/ 62840 w 240576"/>
                <a:gd name="connsiteY66" fmla="*/ 223733 h 327651"/>
                <a:gd name="connsiteX67" fmla="*/ 50267 w 240576"/>
                <a:gd name="connsiteY67" fmla="*/ 267834 h 327651"/>
                <a:gd name="connsiteX68" fmla="*/ 43981 w 240576"/>
                <a:gd name="connsiteY68" fmla="*/ 265453 h 327651"/>
                <a:gd name="connsiteX69" fmla="*/ 39218 w 240576"/>
                <a:gd name="connsiteY69" fmla="*/ 266024 h 327651"/>
                <a:gd name="connsiteX70" fmla="*/ 39218 w 240576"/>
                <a:gd name="connsiteY70" fmla="*/ 266024 h 327651"/>
                <a:gd name="connsiteX71" fmla="*/ 39218 w 240576"/>
                <a:gd name="connsiteY71" fmla="*/ 266024 h 327651"/>
                <a:gd name="connsiteX72" fmla="*/ 29693 w 240576"/>
                <a:gd name="connsiteY72" fmla="*/ 271834 h 327651"/>
                <a:gd name="connsiteX73" fmla="*/ 28836 w 240576"/>
                <a:gd name="connsiteY73" fmla="*/ 279454 h 327651"/>
                <a:gd name="connsiteX74" fmla="*/ 27979 w 240576"/>
                <a:gd name="connsiteY74" fmla="*/ 283074 h 327651"/>
                <a:gd name="connsiteX75" fmla="*/ 18454 w 240576"/>
                <a:gd name="connsiteY75" fmla="*/ 291551 h 327651"/>
                <a:gd name="connsiteX76" fmla="*/ 15692 w 240576"/>
                <a:gd name="connsiteY76" fmla="*/ 291551 h 327651"/>
                <a:gd name="connsiteX77" fmla="*/ 14593 w 240576"/>
                <a:gd name="connsiteY77" fmla="*/ 293406 h 327651"/>
                <a:gd name="connsiteX78" fmla="*/ 15692 w 240576"/>
                <a:gd name="connsiteY78" fmla="*/ 294504 h 327651"/>
                <a:gd name="connsiteX79" fmla="*/ 17882 w 240576"/>
                <a:gd name="connsiteY79" fmla="*/ 295171 h 327651"/>
                <a:gd name="connsiteX80" fmla="*/ 22645 w 240576"/>
                <a:gd name="connsiteY80" fmla="*/ 306505 h 327651"/>
                <a:gd name="connsiteX81" fmla="*/ 22645 w 240576"/>
                <a:gd name="connsiteY81" fmla="*/ 308601 h 327651"/>
                <a:gd name="connsiteX82" fmla="*/ 28931 w 240576"/>
                <a:gd name="connsiteY82" fmla="*/ 318126 h 327651"/>
                <a:gd name="connsiteX83" fmla="*/ 111037 w 240576"/>
                <a:gd name="connsiteY83" fmla="*/ 327651 h 327651"/>
                <a:gd name="connsiteX84" fmla="*/ 130087 w 240576"/>
                <a:gd name="connsiteY84" fmla="*/ 327651 h 327651"/>
                <a:gd name="connsiteX85" fmla="*/ 209906 w 240576"/>
                <a:gd name="connsiteY85" fmla="*/ 318126 h 327651"/>
                <a:gd name="connsiteX86" fmla="*/ 216193 w 240576"/>
                <a:gd name="connsiteY86" fmla="*/ 308601 h 327651"/>
                <a:gd name="connsiteX87" fmla="*/ 216193 w 240576"/>
                <a:gd name="connsiteY87" fmla="*/ 306505 h 327651"/>
                <a:gd name="connsiteX88" fmla="*/ 221813 w 240576"/>
                <a:gd name="connsiteY88" fmla="*/ 295456 h 327651"/>
                <a:gd name="connsiteX89" fmla="*/ 224003 w 240576"/>
                <a:gd name="connsiteY89" fmla="*/ 294790 h 327651"/>
                <a:gd name="connsiteX90" fmla="*/ 225146 w 240576"/>
                <a:gd name="connsiteY90" fmla="*/ 293170 h 327651"/>
                <a:gd name="connsiteX91" fmla="*/ 223527 w 240576"/>
                <a:gd name="connsiteY91" fmla="*/ 291837 h 327651"/>
                <a:gd name="connsiteX92" fmla="*/ 220765 w 240576"/>
                <a:gd name="connsiteY92" fmla="*/ 291837 h 327651"/>
                <a:gd name="connsiteX93" fmla="*/ 211240 w 240576"/>
                <a:gd name="connsiteY93" fmla="*/ 283360 h 327651"/>
                <a:gd name="connsiteX94" fmla="*/ 210287 w 240576"/>
                <a:gd name="connsiteY94" fmla="*/ 279740 h 327651"/>
                <a:gd name="connsiteX95" fmla="*/ 209525 w 240576"/>
                <a:gd name="connsiteY95" fmla="*/ 272120 h 327651"/>
                <a:gd name="connsiteX96" fmla="*/ 200000 w 240576"/>
                <a:gd name="connsiteY96" fmla="*/ 266310 h 327651"/>
                <a:gd name="connsiteX97" fmla="*/ 200000 w 240576"/>
                <a:gd name="connsiteY97" fmla="*/ 266310 h 327651"/>
                <a:gd name="connsiteX98" fmla="*/ 200000 w 240576"/>
                <a:gd name="connsiteY98" fmla="*/ 266310 h 327651"/>
                <a:gd name="connsiteX99" fmla="*/ 195428 w 240576"/>
                <a:gd name="connsiteY99" fmla="*/ 265738 h 327651"/>
                <a:gd name="connsiteX100" fmla="*/ 189142 w 240576"/>
                <a:gd name="connsiteY100" fmla="*/ 268120 h 327651"/>
                <a:gd name="connsiteX101" fmla="*/ 176950 w 240576"/>
                <a:gd name="connsiteY101" fmla="*/ 223543 h 327651"/>
                <a:gd name="connsiteX102" fmla="*/ 184475 w 240576"/>
                <a:gd name="connsiteY102" fmla="*/ 230305 h 327651"/>
                <a:gd name="connsiteX103" fmla="*/ 189618 w 240576"/>
                <a:gd name="connsiteY103" fmla="*/ 234973 h 327651"/>
                <a:gd name="connsiteX104" fmla="*/ 190571 w 240576"/>
                <a:gd name="connsiteY104" fmla="*/ 235830 h 327651"/>
                <a:gd name="connsiteX105" fmla="*/ 200096 w 240576"/>
                <a:gd name="connsiteY105" fmla="*/ 244783 h 327651"/>
                <a:gd name="connsiteX106" fmla="*/ 200096 w 240576"/>
                <a:gd name="connsiteY106" fmla="*/ 244783 h 327651"/>
                <a:gd name="connsiteX107" fmla="*/ 205430 w 240576"/>
                <a:gd name="connsiteY107" fmla="*/ 249546 h 327651"/>
                <a:gd name="connsiteX108" fmla="*/ 219241 w 240576"/>
                <a:gd name="connsiteY108" fmla="*/ 261928 h 327651"/>
                <a:gd name="connsiteX109" fmla="*/ 224003 w 240576"/>
                <a:gd name="connsiteY109" fmla="*/ 266215 h 327651"/>
                <a:gd name="connsiteX110" fmla="*/ 238100 w 240576"/>
                <a:gd name="connsiteY110" fmla="*/ 278883 h 327651"/>
                <a:gd name="connsiteX111" fmla="*/ 238100 w 240576"/>
                <a:gd name="connsiteY111" fmla="*/ 278883 h 327651"/>
                <a:gd name="connsiteX112" fmla="*/ 238958 w 240576"/>
                <a:gd name="connsiteY112" fmla="*/ 278883 h 327651"/>
                <a:gd name="connsiteX113" fmla="*/ 239720 w 240576"/>
                <a:gd name="connsiteY113" fmla="*/ 278883 h 327651"/>
                <a:gd name="connsiteX114" fmla="*/ 240577 w 240576"/>
                <a:gd name="connsiteY114" fmla="*/ 277740 h 327651"/>
                <a:gd name="connsiteX115" fmla="*/ 117895 w 240576"/>
                <a:gd name="connsiteY115" fmla="*/ 7325 h 327651"/>
                <a:gd name="connsiteX116" fmla="*/ 120702 w 240576"/>
                <a:gd name="connsiteY116" fmla="*/ 9185 h 327651"/>
                <a:gd name="connsiteX117" fmla="*/ 118843 w 240576"/>
                <a:gd name="connsiteY117" fmla="*/ 11992 h 327651"/>
                <a:gd name="connsiteX118" fmla="*/ 117895 w 240576"/>
                <a:gd name="connsiteY118" fmla="*/ 11992 h 327651"/>
                <a:gd name="connsiteX119" fmla="*/ 116035 w 240576"/>
                <a:gd name="connsiteY119" fmla="*/ 9185 h 327651"/>
                <a:gd name="connsiteX120" fmla="*/ 117895 w 240576"/>
                <a:gd name="connsiteY120" fmla="*/ 7325 h 327651"/>
                <a:gd name="connsiteX121" fmla="*/ 91415 w 240576"/>
                <a:gd name="connsiteY121" fmla="*/ 76858 h 327651"/>
                <a:gd name="connsiteX122" fmla="*/ 93035 w 240576"/>
                <a:gd name="connsiteY122" fmla="*/ 74667 h 327651"/>
                <a:gd name="connsiteX123" fmla="*/ 94463 w 240576"/>
                <a:gd name="connsiteY123" fmla="*/ 72286 h 327651"/>
                <a:gd name="connsiteX124" fmla="*/ 95892 w 240576"/>
                <a:gd name="connsiteY124" fmla="*/ 70000 h 327651"/>
                <a:gd name="connsiteX125" fmla="*/ 96559 w 240576"/>
                <a:gd name="connsiteY125" fmla="*/ 68857 h 327651"/>
                <a:gd name="connsiteX126" fmla="*/ 97130 w 240576"/>
                <a:gd name="connsiteY126" fmla="*/ 67714 h 327651"/>
                <a:gd name="connsiteX127" fmla="*/ 98464 w 240576"/>
                <a:gd name="connsiteY127" fmla="*/ 65142 h 327651"/>
                <a:gd name="connsiteX128" fmla="*/ 98464 w 240576"/>
                <a:gd name="connsiteY128" fmla="*/ 64285 h 327651"/>
                <a:gd name="connsiteX129" fmla="*/ 99226 w 240576"/>
                <a:gd name="connsiteY129" fmla="*/ 62951 h 327651"/>
                <a:gd name="connsiteX130" fmla="*/ 99797 w 240576"/>
                <a:gd name="connsiteY130" fmla="*/ 61427 h 327651"/>
                <a:gd name="connsiteX131" fmla="*/ 99797 w 240576"/>
                <a:gd name="connsiteY131" fmla="*/ 61427 h 327651"/>
                <a:gd name="connsiteX132" fmla="*/ 99797 w 240576"/>
                <a:gd name="connsiteY132" fmla="*/ 60570 h 327651"/>
                <a:gd name="connsiteX133" fmla="*/ 100464 w 240576"/>
                <a:gd name="connsiteY133" fmla="*/ 58760 h 327651"/>
                <a:gd name="connsiteX134" fmla="*/ 100940 w 240576"/>
                <a:gd name="connsiteY134" fmla="*/ 57712 h 327651"/>
                <a:gd name="connsiteX135" fmla="*/ 101607 w 240576"/>
                <a:gd name="connsiteY135" fmla="*/ 56093 h 327651"/>
                <a:gd name="connsiteX136" fmla="*/ 102750 w 240576"/>
                <a:gd name="connsiteY136" fmla="*/ 52474 h 327651"/>
                <a:gd name="connsiteX137" fmla="*/ 102750 w 240576"/>
                <a:gd name="connsiteY137" fmla="*/ 51712 h 327651"/>
                <a:gd name="connsiteX138" fmla="*/ 102750 w 240576"/>
                <a:gd name="connsiteY138" fmla="*/ 50473 h 327651"/>
                <a:gd name="connsiteX139" fmla="*/ 102750 w 240576"/>
                <a:gd name="connsiteY139" fmla="*/ 49426 h 327651"/>
                <a:gd name="connsiteX140" fmla="*/ 105131 w 240576"/>
                <a:gd name="connsiteY140" fmla="*/ 41139 h 327651"/>
                <a:gd name="connsiteX141" fmla="*/ 105131 w 240576"/>
                <a:gd name="connsiteY141" fmla="*/ 39996 h 327651"/>
                <a:gd name="connsiteX142" fmla="*/ 107608 w 240576"/>
                <a:gd name="connsiteY142" fmla="*/ 28280 h 327651"/>
                <a:gd name="connsiteX143" fmla="*/ 107036 w 240576"/>
                <a:gd name="connsiteY143" fmla="*/ 23327 h 327651"/>
                <a:gd name="connsiteX144" fmla="*/ 107036 w 240576"/>
                <a:gd name="connsiteY144" fmla="*/ 22184 h 327651"/>
                <a:gd name="connsiteX145" fmla="*/ 114085 w 240576"/>
                <a:gd name="connsiteY145" fmla="*/ 22184 h 327651"/>
                <a:gd name="connsiteX146" fmla="*/ 97988 w 240576"/>
                <a:gd name="connsiteY146" fmla="*/ 8754 h 327651"/>
                <a:gd name="connsiteX147" fmla="*/ 92082 w 240576"/>
                <a:gd name="connsiteY147" fmla="*/ 11897 h 327651"/>
                <a:gd name="connsiteX148" fmla="*/ 91130 w 240576"/>
                <a:gd name="connsiteY148" fmla="*/ 12373 h 327651"/>
                <a:gd name="connsiteX149" fmla="*/ 90653 w 240576"/>
                <a:gd name="connsiteY149" fmla="*/ 12373 h 327651"/>
                <a:gd name="connsiteX150" fmla="*/ 90653 w 240576"/>
                <a:gd name="connsiteY150" fmla="*/ 8659 h 327651"/>
                <a:gd name="connsiteX151" fmla="*/ 90653 w 240576"/>
                <a:gd name="connsiteY151" fmla="*/ 7706 h 327651"/>
                <a:gd name="connsiteX152" fmla="*/ 90653 w 240576"/>
                <a:gd name="connsiteY152" fmla="*/ 7706 h 327651"/>
                <a:gd name="connsiteX153" fmla="*/ 91320 w 240576"/>
                <a:gd name="connsiteY153" fmla="*/ 6563 h 327651"/>
                <a:gd name="connsiteX154" fmla="*/ 94368 w 240576"/>
                <a:gd name="connsiteY154" fmla="*/ 5134 h 327651"/>
                <a:gd name="connsiteX155" fmla="*/ 99035 w 240576"/>
                <a:gd name="connsiteY155" fmla="*/ 5134 h 327651"/>
                <a:gd name="connsiteX156" fmla="*/ 102464 w 240576"/>
                <a:gd name="connsiteY156" fmla="*/ 6373 h 327651"/>
                <a:gd name="connsiteX157" fmla="*/ 108846 w 240576"/>
                <a:gd name="connsiteY157" fmla="*/ 11135 h 327651"/>
                <a:gd name="connsiteX158" fmla="*/ 114180 w 240576"/>
                <a:gd name="connsiteY158" fmla="*/ 13326 h 327651"/>
                <a:gd name="connsiteX159" fmla="*/ 115514 w 240576"/>
                <a:gd name="connsiteY159" fmla="*/ 14659 h 327651"/>
                <a:gd name="connsiteX160" fmla="*/ 117514 w 240576"/>
                <a:gd name="connsiteY160" fmla="*/ 15612 h 327651"/>
                <a:gd name="connsiteX161" fmla="*/ 120657 w 240576"/>
                <a:gd name="connsiteY161" fmla="*/ 13897 h 327651"/>
                <a:gd name="connsiteX162" fmla="*/ 122943 w 240576"/>
                <a:gd name="connsiteY162" fmla="*/ 12373 h 327651"/>
                <a:gd name="connsiteX163" fmla="*/ 126753 w 240576"/>
                <a:gd name="connsiteY163" fmla="*/ 11230 h 327651"/>
                <a:gd name="connsiteX164" fmla="*/ 131420 w 240576"/>
                <a:gd name="connsiteY164" fmla="*/ 10468 h 327651"/>
                <a:gd name="connsiteX165" fmla="*/ 136373 w 240576"/>
                <a:gd name="connsiteY165" fmla="*/ 11897 h 327651"/>
                <a:gd name="connsiteX166" fmla="*/ 136373 w 240576"/>
                <a:gd name="connsiteY166" fmla="*/ 12469 h 327651"/>
                <a:gd name="connsiteX167" fmla="*/ 137421 w 240576"/>
                <a:gd name="connsiteY167" fmla="*/ 14755 h 327651"/>
                <a:gd name="connsiteX168" fmla="*/ 138564 w 240576"/>
                <a:gd name="connsiteY168" fmla="*/ 18469 h 327651"/>
                <a:gd name="connsiteX169" fmla="*/ 139707 w 240576"/>
                <a:gd name="connsiteY169" fmla="*/ 27994 h 327651"/>
                <a:gd name="connsiteX170" fmla="*/ 139707 w 240576"/>
                <a:gd name="connsiteY170" fmla="*/ 29233 h 327651"/>
                <a:gd name="connsiteX171" fmla="*/ 139707 w 240576"/>
                <a:gd name="connsiteY171" fmla="*/ 34948 h 327651"/>
                <a:gd name="connsiteX172" fmla="*/ 140755 w 240576"/>
                <a:gd name="connsiteY172" fmla="*/ 57808 h 327651"/>
                <a:gd name="connsiteX173" fmla="*/ 147041 w 240576"/>
                <a:gd name="connsiteY173" fmla="*/ 74953 h 327651"/>
                <a:gd name="connsiteX174" fmla="*/ 148280 w 240576"/>
                <a:gd name="connsiteY174" fmla="*/ 77334 h 327651"/>
                <a:gd name="connsiteX175" fmla="*/ 149899 w 240576"/>
                <a:gd name="connsiteY175" fmla="*/ 79525 h 327651"/>
                <a:gd name="connsiteX176" fmla="*/ 142469 w 240576"/>
                <a:gd name="connsiteY176" fmla="*/ 77524 h 327651"/>
                <a:gd name="connsiteX177" fmla="*/ 139802 w 240576"/>
                <a:gd name="connsiteY177" fmla="*/ 75810 h 327651"/>
                <a:gd name="connsiteX178" fmla="*/ 139802 w 240576"/>
                <a:gd name="connsiteY178" fmla="*/ 75810 h 327651"/>
                <a:gd name="connsiteX179" fmla="*/ 138755 w 240576"/>
                <a:gd name="connsiteY179" fmla="*/ 73143 h 327651"/>
                <a:gd name="connsiteX180" fmla="*/ 135135 w 240576"/>
                <a:gd name="connsiteY180" fmla="*/ 63618 h 327651"/>
                <a:gd name="connsiteX181" fmla="*/ 131992 w 240576"/>
                <a:gd name="connsiteY181" fmla="*/ 41710 h 327651"/>
                <a:gd name="connsiteX182" fmla="*/ 131223 w 240576"/>
                <a:gd name="connsiteY182" fmla="*/ 40289 h 327651"/>
                <a:gd name="connsiteX183" fmla="*/ 129801 w 240576"/>
                <a:gd name="connsiteY183" fmla="*/ 41057 h 327651"/>
                <a:gd name="connsiteX184" fmla="*/ 129801 w 240576"/>
                <a:gd name="connsiteY184" fmla="*/ 41710 h 327651"/>
                <a:gd name="connsiteX185" fmla="*/ 133040 w 240576"/>
                <a:gd name="connsiteY185" fmla="*/ 64094 h 327651"/>
                <a:gd name="connsiteX186" fmla="*/ 136659 w 240576"/>
                <a:gd name="connsiteY186" fmla="*/ 73619 h 327651"/>
                <a:gd name="connsiteX187" fmla="*/ 137326 w 240576"/>
                <a:gd name="connsiteY187" fmla="*/ 75429 h 327651"/>
                <a:gd name="connsiteX188" fmla="*/ 138278 w 240576"/>
                <a:gd name="connsiteY188" fmla="*/ 77810 h 327651"/>
                <a:gd name="connsiteX189" fmla="*/ 139898 w 240576"/>
                <a:gd name="connsiteY189" fmla="*/ 82858 h 327651"/>
                <a:gd name="connsiteX190" fmla="*/ 129230 w 240576"/>
                <a:gd name="connsiteY190" fmla="*/ 77905 h 327651"/>
                <a:gd name="connsiteX191" fmla="*/ 127420 w 240576"/>
                <a:gd name="connsiteY191" fmla="*/ 75905 h 327651"/>
                <a:gd name="connsiteX192" fmla="*/ 127420 w 240576"/>
                <a:gd name="connsiteY192" fmla="*/ 75905 h 327651"/>
                <a:gd name="connsiteX193" fmla="*/ 125610 w 240576"/>
                <a:gd name="connsiteY193" fmla="*/ 40758 h 327651"/>
                <a:gd name="connsiteX194" fmla="*/ 124471 w 240576"/>
                <a:gd name="connsiteY194" fmla="*/ 39611 h 327651"/>
                <a:gd name="connsiteX195" fmla="*/ 124372 w 240576"/>
                <a:gd name="connsiteY195" fmla="*/ 39615 h 327651"/>
                <a:gd name="connsiteX196" fmla="*/ 123229 w 240576"/>
                <a:gd name="connsiteY196" fmla="*/ 40758 h 327651"/>
                <a:gd name="connsiteX197" fmla="*/ 125039 w 240576"/>
                <a:gd name="connsiteY197" fmla="*/ 75905 h 327651"/>
                <a:gd name="connsiteX198" fmla="*/ 125039 w 240576"/>
                <a:gd name="connsiteY198" fmla="*/ 76477 h 327651"/>
                <a:gd name="connsiteX199" fmla="*/ 123705 w 240576"/>
                <a:gd name="connsiteY199" fmla="*/ 78191 h 327651"/>
                <a:gd name="connsiteX200" fmla="*/ 120848 w 240576"/>
                <a:gd name="connsiteY200" fmla="*/ 81239 h 327651"/>
                <a:gd name="connsiteX201" fmla="*/ 119419 w 240576"/>
                <a:gd name="connsiteY201" fmla="*/ 82668 h 327651"/>
                <a:gd name="connsiteX202" fmla="*/ 118562 w 240576"/>
                <a:gd name="connsiteY202" fmla="*/ 82001 h 327651"/>
                <a:gd name="connsiteX203" fmla="*/ 114847 w 240576"/>
                <a:gd name="connsiteY203" fmla="*/ 78191 h 327651"/>
                <a:gd name="connsiteX204" fmla="*/ 112942 w 240576"/>
                <a:gd name="connsiteY204" fmla="*/ 75905 h 327651"/>
                <a:gd name="connsiteX205" fmla="*/ 112942 w 240576"/>
                <a:gd name="connsiteY205" fmla="*/ 75905 h 327651"/>
                <a:gd name="connsiteX206" fmla="*/ 120276 w 240576"/>
                <a:gd name="connsiteY206" fmla="*/ 40091 h 327651"/>
                <a:gd name="connsiteX207" fmla="*/ 119228 w 240576"/>
                <a:gd name="connsiteY207" fmla="*/ 38758 h 327651"/>
                <a:gd name="connsiteX208" fmla="*/ 117990 w 240576"/>
                <a:gd name="connsiteY208" fmla="*/ 39901 h 327651"/>
                <a:gd name="connsiteX209" fmla="*/ 110084 w 240576"/>
                <a:gd name="connsiteY209" fmla="*/ 75905 h 327651"/>
                <a:gd name="connsiteX210" fmla="*/ 108084 w 240576"/>
                <a:gd name="connsiteY210" fmla="*/ 78191 h 327651"/>
                <a:gd name="connsiteX211" fmla="*/ 101607 w 240576"/>
                <a:gd name="connsiteY211" fmla="*/ 83049 h 327651"/>
                <a:gd name="connsiteX212" fmla="*/ 102560 w 240576"/>
                <a:gd name="connsiteY212" fmla="*/ 78096 h 327651"/>
                <a:gd name="connsiteX213" fmla="*/ 103036 w 240576"/>
                <a:gd name="connsiteY213" fmla="*/ 75715 h 327651"/>
                <a:gd name="connsiteX214" fmla="*/ 103036 w 240576"/>
                <a:gd name="connsiteY214" fmla="*/ 75048 h 327651"/>
                <a:gd name="connsiteX215" fmla="*/ 114085 w 240576"/>
                <a:gd name="connsiteY215" fmla="*/ 41139 h 327651"/>
                <a:gd name="connsiteX216" fmla="*/ 113277 w 240576"/>
                <a:gd name="connsiteY216" fmla="*/ 39739 h 327651"/>
                <a:gd name="connsiteX217" fmla="*/ 113132 w 240576"/>
                <a:gd name="connsiteY217" fmla="*/ 39710 h 327651"/>
                <a:gd name="connsiteX218" fmla="*/ 111799 w 240576"/>
                <a:gd name="connsiteY218" fmla="*/ 40758 h 327651"/>
                <a:gd name="connsiteX219" fmla="*/ 99416 w 240576"/>
                <a:gd name="connsiteY219" fmla="*/ 75619 h 327651"/>
                <a:gd name="connsiteX220" fmla="*/ 96749 w 240576"/>
                <a:gd name="connsiteY220" fmla="*/ 77905 h 327651"/>
                <a:gd name="connsiteX221" fmla="*/ 92463 w 240576"/>
                <a:gd name="connsiteY221" fmla="*/ 80001 h 327651"/>
                <a:gd name="connsiteX222" fmla="*/ 88653 w 240576"/>
                <a:gd name="connsiteY222" fmla="*/ 80763 h 327651"/>
                <a:gd name="connsiteX223" fmla="*/ 91320 w 240576"/>
                <a:gd name="connsiteY223" fmla="*/ 76858 h 327651"/>
                <a:gd name="connsiteX224" fmla="*/ 75032 w 240576"/>
                <a:gd name="connsiteY224" fmla="*/ 218780 h 327651"/>
                <a:gd name="connsiteX225" fmla="*/ 79795 w 240576"/>
                <a:gd name="connsiteY225" fmla="*/ 232306 h 327651"/>
                <a:gd name="connsiteX226" fmla="*/ 80462 w 240576"/>
                <a:gd name="connsiteY226" fmla="*/ 232306 h 327651"/>
                <a:gd name="connsiteX227" fmla="*/ 81319 w 240576"/>
                <a:gd name="connsiteY227" fmla="*/ 232306 h 327651"/>
                <a:gd name="connsiteX228" fmla="*/ 89606 w 240576"/>
                <a:gd name="connsiteY228" fmla="*/ 220876 h 327651"/>
                <a:gd name="connsiteX229" fmla="*/ 93797 w 240576"/>
                <a:gd name="connsiteY229" fmla="*/ 242021 h 327651"/>
                <a:gd name="connsiteX230" fmla="*/ 84272 w 240576"/>
                <a:gd name="connsiteY230" fmla="*/ 255642 h 327651"/>
                <a:gd name="connsiteX231" fmla="*/ 79319 w 240576"/>
                <a:gd name="connsiteY231" fmla="*/ 241354 h 327651"/>
                <a:gd name="connsiteX232" fmla="*/ 78652 w 240576"/>
                <a:gd name="connsiteY232" fmla="*/ 240688 h 327651"/>
                <a:gd name="connsiteX233" fmla="*/ 77795 w 240576"/>
                <a:gd name="connsiteY233" fmla="*/ 240688 h 327651"/>
                <a:gd name="connsiteX234" fmla="*/ 68841 w 240576"/>
                <a:gd name="connsiteY234" fmla="*/ 253927 h 327651"/>
                <a:gd name="connsiteX235" fmla="*/ 62078 w 240576"/>
                <a:gd name="connsiteY235" fmla="*/ 230782 h 327651"/>
                <a:gd name="connsiteX236" fmla="*/ 164948 w 240576"/>
                <a:gd name="connsiteY236" fmla="*/ 272787 h 327651"/>
                <a:gd name="connsiteX237" fmla="*/ 157805 w 240576"/>
                <a:gd name="connsiteY237" fmla="*/ 263262 h 327651"/>
                <a:gd name="connsiteX238" fmla="*/ 156947 w 240576"/>
                <a:gd name="connsiteY238" fmla="*/ 263262 h 327651"/>
                <a:gd name="connsiteX239" fmla="*/ 156281 w 240576"/>
                <a:gd name="connsiteY239" fmla="*/ 263833 h 327651"/>
                <a:gd name="connsiteX240" fmla="*/ 152090 w 240576"/>
                <a:gd name="connsiteY240" fmla="*/ 274597 h 327651"/>
                <a:gd name="connsiteX241" fmla="*/ 144374 w 240576"/>
                <a:gd name="connsiteY241" fmla="*/ 274597 h 327651"/>
                <a:gd name="connsiteX242" fmla="*/ 141612 w 240576"/>
                <a:gd name="connsiteY242" fmla="*/ 261833 h 327651"/>
                <a:gd name="connsiteX243" fmla="*/ 144946 w 240576"/>
                <a:gd name="connsiteY243" fmla="*/ 244879 h 327651"/>
                <a:gd name="connsiteX244" fmla="*/ 155614 w 240576"/>
                <a:gd name="connsiteY244" fmla="*/ 258785 h 327651"/>
                <a:gd name="connsiteX245" fmla="*/ 156185 w 240576"/>
                <a:gd name="connsiteY245" fmla="*/ 258023 h 327651"/>
                <a:gd name="connsiteX246" fmla="*/ 161043 w 240576"/>
                <a:gd name="connsiteY246" fmla="*/ 244021 h 327651"/>
                <a:gd name="connsiteX247" fmla="*/ 169711 w 240576"/>
                <a:gd name="connsiteY247" fmla="*/ 256880 h 327651"/>
                <a:gd name="connsiteX248" fmla="*/ 171044 w 240576"/>
                <a:gd name="connsiteY248" fmla="*/ 258118 h 327651"/>
                <a:gd name="connsiteX249" fmla="*/ 179331 w 240576"/>
                <a:gd name="connsiteY249" fmla="*/ 270406 h 327651"/>
                <a:gd name="connsiteX250" fmla="*/ 166758 w 240576"/>
                <a:gd name="connsiteY250" fmla="*/ 272787 h 327651"/>
                <a:gd name="connsiteX251" fmla="*/ 163139 w 240576"/>
                <a:gd name="connsiteY251" fmla="*/ 273263 h 327651"/>
                <a:gd name="connsiteX252" fmla="*/ 153614 w 240576"/>
                <a:gd name="connsiteY252" fmla="*/ 273930 h 327651"/>
                <a:gd name="connsiteX253" fmla="*/ 156947 w 240576"/>
                <a:gd name="connsiteY253" fmla="*/ 265262 h 327651"/>
                <a:gd name="connsiteX254" fmla="*/ 128372 w 240576"/>
                <a:gd name="connsiteY254" fmla="*/ 276216 h 327651"/>
                <a:gd name="connsiteX255" fmla="*/ 122562 w 240576"/>
                <a:gd name="connsiteY255" fmla="*/ 278692 h 327651"/>
                <a:gd name="connsiteX256" fmla="*/ 121419 w 240576"/>
                <a:gd name="connsiteY256" fmla="*/ 281645 h 327651"/>
                <a:gd name="connsiteX257" fmla="*/ 117895 w 240576"/>
                <a:gd name="connsiteY257" fmla="*/ 281645 h 327651"/>
                <a:gd name="connsiteX258" fmla="*/ 116847 w 240576"/>
                <a:gd name="connsiteY258" fmla="*/ 278692 h 327651"/>
                <a:gd name="connsiteX259" fmla="*/ 110942 w 240576"/>
                <a:gd name="connsiteY259" fmla="*/ 276216 h 327651"/>
                <a:gd name="connsiteX260" fmla="*/ 106179 w 240576"/>
                <a:gd name="connsiteY260" fmla="*/ 273644 h 327651"/>
                <a:gd name="connsiteX261" fmla="*/ 100750 w 240576"/>
                <a:gd name="connsiteY261" fmla="*/ 273644 h 327651"/>
                <a:gd name="connsiteX262" fmla="*/ 96749 w 240576"/>
                <a:gd name="connsiteY262" fmla="*/ 273644 h 327651"/>
                <a:gd name="connsiteX263" fmla="*/ 98750 w 240576"/>
                <a:gd name="connsiteY263" fmla="*/ 264119 h 327651"/>
                <a:gd name="connsiteX264" fmla="*/ 102845 w 240576"/>
                <a:gd name="connsiteY264" fmla="*/ 270406 h 327651"/>
                <a:gd name="connsiteX265" fmla="*/ 103760 w 240576"/>
                <a:gd name="connsiteY265" fmla="*/ 270634 h 327651"/>
                <a:gd name="connsiteX266" fmla="*/ 103988 w 240576"/>
                <a:gd name="connsiteY266" fmla="*/ 270406 h 327651"/>
                <a:gd name="connsiteX267" fmla="*/ 110465 w 240576"/>
                <a:gd name="connsiteY267" fmla="*/ 264595 h 327651"/>
                <a:gd name="connsiteX268" fmla="*/ 115514 w 240576"/>
                <a:gd name="connsiteY268" fmla="*/ 225448 h 327651"/>
                <a:gd name="connsiteX269" fmla="*/ 113037 w 240576"/>
                <a:gd name="connsiteY269" fmla="*/ 264881 h 327651"/>
                <a:gd name="connsiteX270" fmla="*/ 113037 w 240576"/>
                <a:gd name="connsiteY270" fmla="*/ 265453 h 327651"/>
                <a:gd name="connsiteX271" fmla="*/ 118657 w 240576"/>
                <a:gd name="connsiteY271" fmla="*/ 272025 h 327651"/>
                <a:gd name="connsiteX272" fmla="*/ 119869 w 240576"/>
                <a:gd name="connsiteY272" fmla="*/ 272051 h 327651"/>
                <a:gd name="connsiteX273" fmla="*/ 119895 w 240576"/>
                <a:gd name="connsiteY273" fmla="*/ 272025 h 327651"/>
                <a:gd name="connsiteX274" fmla="*/ 125515 w 240576"/>
                <a:gd name="connsiteY274" fmla="*/ 265453 h 327651"/>
                <a:gd name="connsiteX275" fmla="*/ 125515 w 240576"/>
                <a:gd name="connsiteY275" fmla="*/ 264881 h 327651"/>
                <a:gd name="connsiteX276" fmla="*/ 123038 w 240576"/>
                <a:gd name="connsiteY276" fmla="*/ 225448 h 327651"/>
                <a:gd name="connsiteX277" fmla="*/ 127991 w 240576"/>
                <a:gd name="connsiteY277" fmla="*/ 264595 h 327651"/>
                <a:gd name="connsiteX278" fmla="*/ 127991 w 240576"/>
                <a:gd name="connsiteY278" fmla="*/ 264595 h 327651"/>
                <a:gd name="connsiteX279" fmla="*/ 134468 w 240576"/>
                <a:gd name="connsiteY279" fmla="*/ 270406 h 327651"/>
                <a:gd name="connsiteX280" fmla="*/ 135383 w 240576"/>
                <a:gd name="connsiteY280" fmla="*/ 270634 h 327651"/>
                <a:gd name="connsiteX281" fmla="*/ 135611 w 240576"/>
                <a:gd name="connsiteY281" fmla="*/ 270406 h 327651"/>
                <a:gd name="connsiteX282" fmla="*/ 139612 w 240576"/>
                <a:gd name="connsiteY282" fmla="*/ 264119 h 327651"/>
                <a:gd name="connsiteX283" fmla="*/ 141517 w 240576"/>
                <a:gd name="connsiteY283" fmla="*/ 273644 h 327651"/>
                <a:gd name="connsiteX284" fmla="*/ 137612 w 240576"/>
                <a:gd name="connsiteY284" fmla="*/ 273644 h 327651"/>
                <a:gd name="connsiteX285" fmla="*/ 132278 w 240576"/>
                <a:gd name="connsiteY285" fmla="*/ 273644 h 327651"/>
                <a:gd name="connsiteX286" fmla="*/ 128372 w 240576"/>
                <a:gd name="connsiteY286" fmla="*/ 276597 h 327651"/>
                <a:gd name="connsiteX287" fmla="*/ 129420 w 240576"/>
                <a:gd name="connsiteY287" fmla="*/ 281836 h 327651"/>
                <a:gd name="connsiteX288" fmla="*/ 129420 w 240576"/>
                <a:gd name="connsiteY288" fmla="*/ 281836 h 327651"/>
                <a:gd name="connsiteX289" fmla="*/ 129992 w 240576"/>
                <a:gd name="connsiteY289" fmla="*/ 282693 h 327651"/>
                <a:gd name="connsiteX290" fmla="*/ 131420 w 240576"/>
                <a:gd name="connsiteY290" fmla="*/ 284312 h 327651"/>
                <a:gd name="connsiteX291" fmla="*/ 131420 w 240576"/>
                <a:gd name="connsiteY291" fmla="*/ 284884 h 327651"/>
                <a:gd name="connsiteX292" fmla="*/ 128468 w 240576"/>
                <a:gd name="connsiteY292" fmla="*/ 287741 h 327651"/>
                <a:gd name="connsiteX293" fmla="*/ 127134 w 240576"/>
                <a:gd name="connsiteY293" fmla="*/ 288598 h 327651"/>
                <a:gd name="connsiteX294" fmla="*/ 124943 w 240576"/>
                <a:gd name="connsiteY294" fmla="*/ 290980 h 327651"/>
                <a:gd name="connsiteX295" fmla="*/ 123229 w 240576"/>
                <a:gd name="connsiteY295" fmla="*/ 284788 h 327651"/>
                <a:gd name="connsiteX296" fmla="*/ 123229 w 240576"/>
                <a:gd name="connsiteY296" fmla="*/ 281645 h 327651"/>
                <a:gd name="connsiteX297" fmla="*/ 124086 w 240576"/>
                <a:gd name="connsiteY297" fmla="*/ 279740 h 327651"/>
                <a:gd name="connsiteX298" fmla="*/ 127896 w 240576"/>
                <a:gd name="connsiteY298" fmla="*/ 277930 h 327651"/>
                <a:gd name="connsiteX299" fmla="*/ 128468 w 240576"/>
                <a:gd name="connsiteY299" fmla="*/ 280312 h 327651"/>
                <a:gd name="connsiteX300" fmla="*/ 116561 w 240576"/>
                <a:gd name="connsiteY300" fmla="*/ 285455 h 327651"/>
                <a:gd name="connsiteX301" fmla="*/ 114847 w 240576"/>
                <a:gd name="connsiteY301" fmla="*/ 291646 h 327651"/>
                <a:gd name="connsiteX302" fmla="*/ 112561 w 240576"/>
                <a:gd name="connsiteY302" fmla="*/ 289265 h 327651"/>
                <a:gd name="connsiteX303" fmla="*/ 111227 w 240576"/>
                <a:gd name="connsiteY303" fmla="*/ 288408 h 327651"/>
                <a:gd name="connsiteX304" fmla="*/ 108275 w 240576"/>
                <a:gd name="connsiteY304" fmla="*/ 285550 h 327651"/>
                <a:gd name="connsiteX305" fmla="*/ 108275 w 240576"/>
                <a:gd name="connsiteY305" fmla="*/ 284979 h 327651"/>
                <a:gd name="connsiteX306" fmla="*/ 109703 w 240576"/>
                <a:gd name="connsiteY306" fmla="*/ 283360 h 327651"/>
                <a:gd name="connsiteX307" fmla="*/ 110275 w 240576"/>
                <a:gd name="connsiteY307" fmla="*/ 282503 h 327651"/>
                <a:gd name="connsiteX308" fmla="*/ 110275 w 240576"/>
                <a:gd name="connsiteY308" fmla="*/ 282502 h 327651"/>
                <a:gd name="connsiteX309" fmla="*/ 111227 w 240576"/>
                <a:gd name="connsiteY309" fmla="*/ 280978 h 327651"/>
                <a:gd name="connsiteX310" fmla="*/ 111894 w 240576"/>
                <a:gd name="connsiteY310" fmla="*/ 278597 h 327651"/>
                <a:gd name="connsiteX311" fmla="*/ 115704 w 240576"/>
                <a:gd name="connsiteY311" fmla="*/ 280407 h 327651"/>
                <a:gd name="connsiteX312" fmla="*/ 116561 w 240576"/>
                <a:gd name="connsiteY312" fmla="*/ 282312 h 327651"/>
                <a:gd name="connsiteX313" fmla="*/ 116561 w 240576"/>
                <a:gd name="connsiteY313" fmla="*/ 285455 h 327651"/>
                <a:gd name="connsiteX314" fmla="*/ 83414 w 240576"/>
                <a:gd name="connsiteY314" fmla="*/ 263548 h 327651"/>
                <a:gd name="connsiteX315" fmla="*/ 82748 w 240576"/>
                <a:gd name="connsiteY315" fmla="*/ 262976 h 327651"/>
                <a:gd name="connsiteX316" fmla="*/ 81890 w 240576"/>
                <a:gd name="connsiteY316" fmla="*/ 262976 h 327651"/>
                <a:gd name="connsiteX317" fmla="*/ 74747 w 240576"/>
                <a:gd name="connsiteY317" fmla="*/ 272501 h 327651"/>
                <a:gd name="connsiteX318" fmla="*/ 70270 w 240576"/>
                <a:gd name="connsiteY318" fmla="*/ 256880 h 327651"/>
                <a:gd name="connsiteX319" fmla="*/ 79128 w 240576"/>
                <a:gd name="connsiteY319" fmla="*/ 243926 h 327651"/>
                <a:gd name="connsiteX320" fmla="*/ 83891 w 240576"/>
                <a:gd name="connsiteY320" fmla="*/ 257928 h 327651"/>
                <a:gd name="connsiteX321" fmla="*/ 84557 w 240576"/>
                <a:gd name="connsiteY321" fmla="*/ 258690 h 327651"/>
                <a:gd name="connsiteX322" fmla="*/ 95225 w 240576"/>
                <a:gd name="connsiteY322" fmla="*/ 244783 h 327651"/>
                <a:gd name="connsiteX323" fmla="*/ 98559 w 240576"/>
                <a:gd name="connsiteY323" fmla="*/ 261738 h 327651"/>
                <a:gd name="connsiteX324" fmla="*/ 95797 w 240576"/>
                <a:gd name="connsiteY324" fmla="*/ 274501 h 327651"/>
                <a:gd name="connsiteX325" fmla="*/ 88082 w 240576"/>
                <a:gd name="connsiteY325" fmla="*/ 274501 h 327651"/>
                <a:gd name="connsiteX326" fmla="*/ 85700 w 240576"/>
                <a:gd name="connsiteY326" fmla="*/ 274311 h 327651"/>
                <a:gd name="connsiteX327" fmla="*/ 76175 w 240576"/>
                <a:gd name="connsiteY327" fmla="*/ 273644 h 327651"/>
                <a:gd name="connsiteX328" fmla="*/ 82081 w 240576"/>
                <a:gd name="connsiteY328" fmla="*/ 265643 h 327651"/>
                <a:gd name="connsiteX329" fmla="*/ 72937 w 240576"/>
                <a:gd name="connsiteY329" fmla="*/ 273168 h 327651"/>
                <a:gd name="connsiteX330" fmla="*/ 60745 w 240576"/>
                <a:gd name="connsiteY330" fmla="*/ 270787 h 327651"/>
                <a:gd name="connsiteX331" fmla="*/ 69032 w 240576"/>
                <a:gd name="connsiteY331" fmla="*/ 258499 h 327651"/>
                <a:gd name="connsiteX332" fmla="*/ 95987 w 240576"/>
                <a:gd name="connsiteY332" fmla="*/ 242593 h 327651"/>
                <a:gd name="connsiteX333" fmla="*/ 95987 w 240576"/>
                <a:gd name="connsiteY333" fmla="*/ 242593 h 327651"/>
                <a:gd name="connsiteX334" fmla="*/ 104560 w 240576"/>
                <a:gd name="connsiteY334" fmla="*/ 230210 h 327651"/>
                <a:gd name="connsiteX335" fmla="*/ 98845 w 240576"/>
                <a:gd name="connsiteY335" fmla="*/ 256880 h 327651"/>
                <a:gd name="connsiteX336" fmla="*/ 104750 w 240576"/>
                <a:gd name="connsiteY336" fmla="*/ 198206 h 327651"/>
                <a:gd name="connsiteX337" fmla="*/ 110370 w 240576"/>
                <a:gd name="connsiteY337" fmla="*/ 203635 h 327651"/>
                <a:gd name="connsiteX338" fmla="*/ 106370 w 240576"/>
                <a:gd name="connsiteY338" fmla="*/ 222685 h 327651"/>
                <a:gd name="connsiteX339" fmla="*/ 100369 w 240576"/>
                <a:gd name="connsiteY339" fmla="*/ 203635 h 327651"/>
                <a:gd name="connsiteX340" fmla="*/ 91987 w 240576"/>
                <a:gd name="connsiteY340" fmla="*/ 211065 h 327651"/>
                <a:gd name="connsiteX341" fmla="*/ 90653 w 240576"/>
                <a:gd name="connsiteY341" fmla="*/ 198492 h 327651"/>
                <a:gd name="connsiteX342" fmla="*/ 98559 w 240576"/>
                <a:gd name="connsiteY342" fmla="*/ 191443 h 327651"/>
                <a:gd name="connsiteX343" fmla="*/ 103512 w 240576"/>
                <a:gd name="connsiteY343" fmla="*/ 196873 h 327651"/>
                <a:gd name="connsiteX344" fmla="*/ 139612 w 240576"/>
                <a:gd name="connsiteY344" fmla="*/ 203635 h 327651"/>
                <a:gd name="connsiteX345" fmla="*/ 133611 w 240576"/>
                <a:gd name="connsiteY345" fmla="*/ 222685 h 327651"/>
                <a:gd name="connsiteX346" fmla="*/ 129611 w 240576"/>
                <a:gd name="connsiteY346" fmla="*/ 203635 h 327651"/>
                <a:gd name="connsiteX347" fmla="*/ 135135 w 240576"/>
                <a:gd name="connsiteY347" fmla="*/ 198206 h 327651"/>
                <a:gd name="connsiteX348" fmla="*/ 136373 w 240576"/>
                <a:gd name="connsiteY348" fmla="*/ 196968 h 327651"/>
                <a:gd name="connsiteX349" fmla="*/ 141422 w 240576"/>
                <a:gd name="connsiteY349" fmla="*/ 191443 h 327651"/>
                <a:gd name="connsiteX350" fmla="*/ 149327 w 240576"/>
                <a:gd name="connsiteY350" fmla="*/ 198492 h 327651"/>
                <a:gd name="connsiteX351" fmla="*/ 147994 w 240576"/>
                <a:gd name="connsiteY351" fmla="*/ 211065 h 327651"/>
                <a:gd name="connsiteX352" fmla="*/ 135135 w 240576"/>
                <a:gd name="connsiteY352" fmla="*/ 229924 h 327651"/>
                <a:gd name="connsiteX353" fmla="*/ 143708 w 240576"/>
                <a:gd name="connsiteY353" fmla="*/ 242307 h 327651"/>
                <a:gd name="connsiteX354" fmla="*/ 143708 w 240576"/>
                <a:gd name="connsiteY354" fmla="*/ 242307 h 327651"/>
                <a:gd name="connsiteX355" fmla="*/ 140660 w 240576"/>
                <a:gd name="connsiteY355" fmla="*/ 256880 h 327651"/>
                <a:gd name="connsiteX356" fmla="*/ 144660 w 240576"/>
                <a:gd name="connsiteY356" fmla="*/ 240307 h 327651"/>
                <a:gd name="connsiteX357" fmla="*/ 134564 w 240576"/>
                <a:gd name="connsiteY357" fmla="*/ 225733 h 327651"/>
                <a:gd name="connsiteX358" fmla="*/ 141326 w 240576"/>
                <a:gd name="connsiteY358" fmla="*/ 205159 h 327651"/>
                <a:gd name="connsiteX359" fmla="*/ 148280 w 240576"/>
                <a:gd name="connsiteY359" fmla="*/ 213732 h 327651"/>
                <a:gd name="connsiteX360" fmla="*/ 149137 w 240576"/>
                <a:gd name="connsiteY360" fmla="*/ 213732 h 327651"/>
                <a:gd name="connsiteX361" fmla="*/ 149804 w 240576"/>
                <a:gd name="connsiteY361" fmla="*/ 213065 h 327651"/>
                <a:gd name="connsiteX362" fmla="*/ 151137 w 240576"/>
                <a:gd name="connsiteY362" fmla="*/ 199730 h 327651"/>
                <a:gd name="connsiteX363" fmla="*/ 169139 w 240576"/>
                <a:gd name="connsiteY363" fmla="*/ 215827 h 327651"/>
                <a:gd name="connsiteX364" fmla="*/ 171330 w 240576"/>
                <a:gd name="connsiteY364" fmla="*/ 217828 h 327651"/>
                <a:gd name="connsiteX365" fmla="*/ 173426 w 240576"/>
                <a:gd name="connsiteY365" fmla="*/ 219637 h 327651"/>
                <a:gd name="connsiteX366" fmla="*/ 174092 w 240576"/>
                <a:gd name="connsiteY366" fmla="*/ 220304 h 327651"/>
                <a:gd name="connsiteX367" fmla="*/ 175140 w 240576"/>
                <a:gd name="connsiteY367" fmla="*/ 221161 h 327651"/>
                <a:gd name="connsiteX368" fmla="*/ 177045 w 240576"/>
                <a:gd name="connsiteY368" fmla="*/ 228115 h 327651"/>
                <a:gd name="connsiteX369" fmla="*/ 165425 w 240576"/>
                <a:gd name="connsiteY369" fmla="*/ 216875 h 327651"/>
                <a:gd name="connsiteX370" fmla="*/ 164663 w 240576"/>
                <a:gd name="connsiteY370" fmla="*/ 216875 h 327651"/>
                <a:gd name="connsiteX371" fmla="*/ 163996 w 240576"/>
                <a:gd name="connsiteY371" fmla="*/ 217351 h 327651"/>
                <a:gd name="connsiteX372" fmla="*/ 159043 w 240576"/>
                <a:gd name="connsiteY372" fmla="*/ 230401 h 327651"/>
                <a:gd name="connsiteX373" fmla="*/ 149804 w 240576"/>
                <a:gd name="connsiteY373" fmla="*/ 218780 h 327651"/>
                <a:gd name="connsiteX374" fmla="*/ 149042 w 240576"/>
                <a:gd name="connsiteY374" fmla="*/ 218780 h 327651"/>
                <a:gd name="connsiteX375" fmla="*/ 148280 w 240576"/>
                <a:gd name="connsiteY375" fmla="*/ 219447 h 327651"/>
                <a:gd name="connsiteX376" fmla="*/ 173235 w 240576"/>
                <a:gd name="connsiteY376" fmla="*/ 216208 h 327651"/>
                <a:gd name="connsiteX377" fmla="*/ 171140 w 240576"/>
                <a:gd name="connsiteY377" fmla="*/ 214303 h 327651"/>
                <a:gd name="connsiteX378" fmla="*/ 170187 w 240576"/>
                <a:gd name="connsiteY378" fmla="*/ 213541 h 327651"/>
                <a:gd name="connsiteX379" fmla="*/ 167425 w 240576"/>
                <a:gd name="connsiteY379" fmla="*/ 145057 h 327651"/>
                <a:gd name="connsiteX380" fmla="*/ 171521 w 240576"/>
                <a:gd name="connsiteY380" fmla="*/ 127054 h 327651"/>
                <a:gd name="connsiteX381" fmla="*/ 175235 w 240576"/>
                <a:gd name="connsiteY381" fmla="*/ 218113 h 327651"/>
                <a:gd name="connsiteX382" fmla="*/ 172283 w 240576"/>
                <a:gd name="connsiteY382" fmla="*/ 216208 h 327651"/>
                <a:gd name="connsiteX383" fmla="*/ 167234 w 240576"/>
                <a:gd name="connsiteY383" fmla="*/ 140008 h 327651"/>
                <a:gd name="connsiteX384" fmla="*/ 139802 w 240576"/>
                <a:gd name="connsiteY384" fmla="*/ 190205 h 327651"/>
                <a:gd name="connsiteX385" fmla="*/ 127896 w 240576"/>
                <a:gd name="connsiteY385" fmla="*/ 202397 h 327651"/>
                <a:gd name="connsiteX386" fmla="*/ 127896 w 240576"/>
                <a:gd name="connsiteY386" fmla="*/ 202397 h 327651"/>
                <a:gd name="connsiteX387" fmla="*/ 126944 w 240576"/>
                <a:gd name="connsiteY387" fmla="*/ 203159 h 327651"/>
                <a:gd name="connsiteX388" fmla="*/ 126086 w 240576"/>
                <a:gd name="connsiteY388" fmla="*/ 204016 h 327651"/>
                <a:gd name="connsiteX389" fmla="*/ 124277 w 240576"/>
                <a:gd name="connsiteY389" fmla="*/ 205540 h 327651"/>
                <a:gd name="connsiteX390" fmla="*/ 119800 w 240576"/>
                <a:gd name="connsiteY390" fmla="*/ 209255 h 327651"/>
                <a:gd name="connsiteX391" fmla="*/ 115418 w 240576"/>
                <a:gd name="connsiteY391" fmla="*/ 205540 h 327651"/>
                <a:gd name="connsiteX392" fmla="*/ 113609 w 240576"/>
                <a:gd name="connsiteY392" fmla="*/ 204016 h 327651"/>
                <a:gd name="connsiteX393" fmla="*/ 112751 w 240576"/>
                <a:gd name="connsiteY393" fmla="*/ 203159 h 327651"/>
                <a:gd name="connsiteX394" fmla="*/ 111799 w 240576"/>
                <a:gd name="connsiteY394" fmla="*/ 202397 h 327651"/>
                <a:gd name="connsiteX395" fmla="*/ 111799 w 240576"/>
                <a:gd name="connsiteY395" fmla="*/ 202397 h 327651"/>
                <a:gd name="connsiteX396" fmla="*/ 99893 w 240576"/>
                <a:gd name="connsiteY396" fmla="*/ 190205 h 327651"/>
                <a:gd name="connsiteX397" fmla="*/ 73413 w 240576"/>
                <a:gd name="connsiteY397" fmla="*/ 139437 h 327651"/>
                <a:gd name="connsiteX398" fmla="*/ 69603 w 240576"/>
                <a:gd name="connsiteY398" fmla="*/ 115720 h 327651"/>
                <a:gd name="connsiteX399" fmla="*/ 69603 w 240576"/>
                <a:gd name="connsiteY399" fmla="*/ 105147 h 327651"/>
                <a:gd name="connsiteX400" fmla="*/ 118181 w 240576"/>
                <a:gd name="connsiteY400" fmla="*/ 91431 h 327651"/>
                <a:gd name="connsiteX401" fmla="*/ 119324 w 240576"/>
                <a:gd name="connsiteY401" fmla="*/ 90574 h 327651"/>
                <a:gd name="connsiteX402" fmla="*/ 120467 w 240576"/>
                <a:gd name="connsiteY402" fmla="*/ 91431 h 327651"/>
                <a:gd name="connsiteX403" fmla="*/ 169139 w 240576"/>
                <a:gd name="connsiteY403" fmla="*/ 105147 h 327651"/>
                <a:gd name="connsiteX404" fmla="*/ 169139 w 240576"/>
                <a:gd name="connsiteY404" fmla="*/ 115720 h 327651"/>
                <a:gd name="connsiteX405" fmla="*/ 166282 w 240576"/>
                <a:gd name="connsiteY405" fmla="*/ 139532 h 327651"/>
                <a:gd name="connsiteX406" fmla="*/ 74175 w 240576"/>
                <a:gd name="connsiteY406" fmla="*/ 145533 h 327651"/>
                <a:gd name="connsiteX407" fmla="*/ 70270 w 240576"/>
                <a:gd name="connsiteY407" fmla="*/ 213541 h 327651"/>
                <a:gd name="connsiteX408" fmla="*/ 69508 w 240576"/>
                <a:gd name="connsiteY408" fmla="*/ 214303 h 327651"/>
                <a:gd name="connsiteX409" fmla="*/ 67412 w 240576"/>
                <a:gd name="connsiteY409" fmla="*/ 216208 h 327651"/>
                <a:gd name="connsiteX410" fmla="*/ 65412 w 240576"/>
                <a:gd name="connsiteY410" fmla="*/ 218113 h 327651"/>
                <a:gd name="connsiteX411" fmla="*/ 69127 w 240576"/>
                <a:gd name="connsiteY411" fmla="*/ 127054 h 327651"/>
                <a:gd name="connsiteX412" fmla="*/ 73223 w 240576"/>
                <a:gd name="connsiteY412" fmla="*/ 145057 h 327651"/>
                <a:gd name="connsiteX413" fmla="*/ 66936 w 240576"/>
                <a:gd name="connsiteY413" fmla="*/ 220971 h 327651"/>
                <a:gd name="connsiteX414" fmla="*/ 67793 w 240576"/>
                <a:gd name="connsiteY414" fmla="*/ 220304 h 327651"/>
                <a:gd name="connsiteX415" fmla="*/ 69889 w 240576"/>
                <a:gd name="connsiteY415" fmla="*/ 218494 h 327651"/>
                <a:gd name="connsiteX416" fmla="*/ 71984 w 240576"/>
                <a:gd name="connsiteY416" fmla="*/ 216494 h 327651"/>
                <a:gd name="connsiteX417" fmla="*/ 89320 w 240576"/>
                <a:gd name="connsiteY417" fmla="*/ 199730 h 327651"/>
                <a:gd name="connsiteX418" fmla="*/ 90749 w 240576"/>
                <a:gd name="connsiteY418" fmla="*/ 213065 h 327651"/>
                <a:gd name="connsiteX419" fmla="*/ 91320 w 240576"/>
                <a:gd name="connsiteY419" fmla="*/ 213732 h 327651"/>
                <a:gd name="connsiteX420" fmla="*/ 92273 w 240576"/>
                <a:gd name="connsiteY420" fmla="*/ 213732 h 327651"/>
                <a:gd name="connsiteX421" fmla="*/ 99226 w 240576"/>
                <a:gd name="connsiteY421" fmla="*/ 205159 h 327651"/>
                <a:gd name="connsiteX422" fmla="*/ 105893 w 240576"/>
                <a:gd name="connsiteY422" fmla="*/ 225733 h 327651"/>
                <a:gd name="connsiteX423" fmla="*/ 95892 w 240576"/>
                <a:gd name="connsiteY423" fmla="*/ 240307 h 327651"/>
                <a:gd name="connsiteX424" fmla="*/ 91320 w 240576"/>
                <a:gd name="connsiteY424" fmla="*/ 218780 h 327651"/>
                <a:gd name="connsiteX425" fmla="*/ 90653 w 240576"/>
                <a:gd name="connsiteY425" fmla="*/ 218113 h 327651"/>
                <a:gd name="connsiteX426" fmla="*/ 89891 w 240576"/>
                <a:gd name="connsiteY426" fmla="*/ 218113 h 327651"/>
                <a:gd name="connsiteX427" fmla="*/ 81224 w 240576"/>
                <a:gd name="connsiteY427" fmla="*/ 229829 h 327651"/>
                <a:gd name="connsiteX428" fmla="*/ 76175 w 240576"/>
                <a:gd name="connsiteY428" fmla="*/ 216780 h 327651"/>
                <a:gd name="connsiteX429" fmla="*/ 75604 w 240576"/>
                <a:gd name="connsiteY429" fmla="*/ 216304 h 327651"/>
                <a:gd name="connsiteX430" fmla="*/ 74842 w 240576"/>
                <a:gd name="connsiteY430" fmla="*/ 216304 h 327651"/>
                <a:gd name="connsiteX431" fmla="*/ 63126 w 240576"/>
                <a:gd name="connsiteY431" fmla="*/ 228305 h 327651"/>
                <a:gd name="connsiteX432" fmla="*/ 65126 w 240576"/>
                <a:gd name="connsiteY432" fmla="*/ 221352 h 327651"/>
                <a:gd name="connsiteX433" fmla="*/ 65984 w 240576"/>
                <a:gd name="connsiteY433" fmla="*/ 220495 h 327651"/>
                <a:gd name="connsiteX434" fmla="*/ 62459 w 240576"/>
                <a:gd name="connsiteY434" fmla="*/ 234782 h 327651"/>
                <a:gd name="connsiteX435" fmla="*/ 68936 w 240576"/>
                <a:gd name="connsiteY435" fmla="*/ 256785 h 327651"/>
                <a:gd name="connsiteX436" fmla="*/ 59411 w 240576"/>
                <a:gd name="connsiteY436" fmla="*/ 270787 h 327651"/>
                <a:gd name="connsiteX437" fmla="*/ 52649 w 240576"/>
                <a:gd name="connsiteY437" fmla="*/ 268882 h 327651"/>
                <a:gd name="connsiteX438" fmla="*/ 39790 w 240576"/>
                <a:gd name="connsiteY438" fmla="*/ 267929 h 327651"/>
                <a:gd name="connsiteX439" fmla="*/ 39790 w 240576"/>
                <a:gd name="connsiteY439" fmla="*/ 267929 h 327651"/>
                <a:gd name="connsiteX440" fmla="*/ 39790 w 240576"/>
                <a:gd name="connsiteY440" fmla="*/ 267929 h 327651"/>
                <a:gd name="connsiteX441" fmla="*/ 42933 w 240576"/>
                <a:gd name="connsiteY441" fmla="*/ 267929 h 327651"/>
                <a:gd name="connsiteX442" fmla="*/ 49315 w 240576"/>
                <a:gd name="connsiteY442" fmla="*/ 270310 h 327651"/>
                <a:gd name="connsiteX443" fmla="*/ 72746 w 240576"/>
                <a:gd name="connsiteY443" fmla="*/ 275835 h 327651"/>
                <a:gd name="connsiteX444" fmla="*/ 82271 w 240576"/>
                <a:gd name="connsiteY444" fmla="*/ 276692 h 327651"/>
                <a:gd name="connsiteX445" fmla="*/ 85986 w 240576"/>
                <a:gd name="connsiteY445" fmla="*/ 276692 h 327651"/>
                <a:gd name="connsiteX446" fmla="*/ 96273 w 240576"/>
                <a:gd name="connsiteY446" fmla="*/ 276692 h 327651"/>
                <a:gd name="connsiteX447" fmla="*/ 100655 w 240576"/>
                <a:gd name="connsiteY447" fmla="*/ 276692 h 327651"/>
                <a:gd name="connsiteX448" fmla="*/ 105703 w 240576"/>
                <a:gd name="connsiteY448" fmla="*/ 276692 h 327651"/>
                <a:gd name="connsiteX449" fmla="*/ 109608 w 240576"/>
                <a:gd name="connsiteY449" fmla="*/ 278978 h 327651"/>
                <a:gd name="connsiteX450" fmla="*/ 109608 w 240576"/>
                <a:gd name="connsiteY450" fmla="*/ 280597 h 327651"/>
                <a:gd name="connsiteX451" fmla="*/ 108275 w 240576"/>
                <a:gd name="connsiteY451" fmla="*/ 282407 h 327651"/>
                <a:gd name="connsiteX452" fmla="*/ 107703 w 240576"/>
                <a:gd name="connsiteY452" fmla="*/ 283264 h 327651"/>
                <a:gd name="connsiteX453" fmla="*/ 107703 w 240576"/>
                <a:gd name="connsiteY453" fmla="*/ 283264 h 327651"/>
                <a:gd name="connsiteX454" fmla="*/ 106370 w 240576"/>
                <a:gd name="connsiteY454" fmla="*/ 284503 h 327651"/>
                <a:gd name="connsiteX455" fmla="*/ 103798 w 240576"/>
                <a:gd name="connsiteY455" fmla="*/ 285455 h 327651"/>
                <a:gd name="connsiteX456" fmla="*/ 89320 w 240576"/>
                <a:gd name="connsiteY456" fmla="*/ 285455 h 327651"/>
                <a:gd name="connsiteX457" fmla="*/ 77318 w 240576"/>
                <a:gd name="connsiteY457" fmla="*/ 284598 h 327651"/>
                <a:gd name="connsiteX458" fmla="*/ 77318 w 240576"/>
                <a:gd name="connsiteY458" fmla="*/ 284598 h 327651"/>
                <a:gd name="connsiteX459" fmla="*/ 77318 w 240576"/>
                <a:gd name="connsiteY459" fmla="*/ 281550 h 327651"/>
                <a:gd name="connsiteX460" fmla="*/ 74461 w 240576"/>
                <a:gd name="connsiteY460" fmla="*/ 276978 h 327651"/>
                <a:gd name="connsiteX461" fmla="*/ 73985 w 240576"/>
                <a:gd name="connsiteY461" fmla="*/ 276978 h 327651"/>
                <a:gd name="connsiteX462" fmla="*/ 72270 w 240576"/>
                <a:gd name="connsiteY462" fmla="*/ 276216 h 327651"/>
                <a:gd name="connsiteX463" fmla="*/ 72270 w 240576"/>
                <a:gd name="connsiteY463" fmla="*/ 276216 h 327651"/>
                <a:gd name="connsiteX464" fmla="*/ 70937 w 240576"/>
                <a:gd name="connsiteY464" fmla="*/ 276216 h 327651"/>
                <a:gd name="connsiteX465" fmla="*/ 70937 w 240576"/>
                <a:gd name="connsiteY465" fmla="*/ 276216 h 327651"/>
                <a:gd name="connsiteX466" fmla="*/ 67127 w 240576"/>
                <a:gd name="connsiteY466" fmla="*/ 280026 h 327651"/>
                <a:gd name="connsiteX467" fmla="*/ 67127 w 240576"/>
                <a:gd name="connsiteY467" fmla="*/ 280693 h 327651"/>
                <a:gd name="connsiteX468" fmla="*/ 67127 w 240576"/>
                <a:gd name="connsiteY468" fmla="*/ 283074 h 327651"/>
                <a:gd name="connsiteX469" fmla="*/ 67127 w 240576"/>
                <a:gd name="connsiteY469" fmla="*/ 283074 h 327651"/>
                <a:gd name="connsiteX470" fmla="*/ 57602 w 240576"/>
                <a:gd name="connsiteY470" fmla="*/ 281264 h 327651"/>
                <a:gd name="connsiteX471" fmla="*/ 40457 w 240576"/>
                <a:gd name="connsiteY471" fmla="*/ 276692 h 327651"/>
                <a:gd name="connsiteX472" fmla="*/ 40457 w 240576"/>
                <a:gd name="connsiteY472" fmla="*/ 276216 h 327651"/>
                <a:gd name="connsiteX473" fmla="*/ 40457 w 240576"/>
                <a:gd name="connsiteY473" fmla="*/ 276216 h 327651"/>
                <a:gd name="connsiteX474" fmla="*/ 40457 w 240576"/>
                <a:gd name="connsiteY474" fmla="*/ 274025 h 327651"/>
                <a:gd name="connsiteX475" fmla="*/ 40457 w 240576"/>
                <a:gd name="connsiteY475" fmla="*/ 270406 h 327651"/>
                <a:gd name="connsiteX476" fmla="*/ 39790 w 240576"/>
                <a:gd name="connsiteY476" fmla="*/ 267929 h 327651"/>
                <a:gd name="connsiteX477" fmla="*/ 76175 w 240576"/>
                <a:gd name="connsiteY477" fmla="*/ 283455 h 327651"/>
                <a:gd name="connsiteX478" fmla="*/ 75128 w 240576"/>
                <a:gd name="connsiteY478" fmla="*/ 285931 h 327651"/>
                <a:gd name="connsiteX479" fmla="*/ 75128 w 240576"/>
                <a:gd name="connsiteY479" fmla="*/ 285931 h 327651"/>
                <a:gd name="connsiteX480" fmla="*/ 74270 w 240576"/>
                <a:gd name="connsiteY480" fmla="*/ 286979 h 327651"/>
                <a:gd name="connsiteX481" fmla="*/ 72080 w 240576"/>
                <a:gd name="connsiteY481" fmla="*/ 289646 h 327651"/>
                <a:gd name="connsiteX482" fmla="*/ 71032 w 240576"/>
                <a:gd name="connsiteY482" fmla="*/ 287836 h 327651"/>
                <a:gd name="connsiteX483" fmla="*/ 68651 w 240576"/>
                <a:gd name="connsiteY483" fmla="*/ 282407 h 327651"/>
                <a:gd name="connsiteX484" fmla="*/ 68651 w 240576"/>
                <a:gd name="connsiteY484" fmla="*/ 280216 h 327651"/>
                <a:gd name="connsiteX485" fmla="*/ 68651 w 240576"/>
                <a:gd name="connsiteY485" fmla="*/ 279264 h 327651"/>
                <a:gd name="connsiteX486" fmla="*/ 71318 w 240576"/>
                <a:gd name="connsiteY486" fmla="*/ 276883 h 327651"/>
                <a:gd name="connsiteX487" fmla="*/ 72175 w 240576"/>
                <a:gd name="connsiteY487" fmla="*/ 276883 h 327651"/>
                <a:gd name="connsiteX488" fmla="*/ 73413 w 240576"/>
                <a:gd name="connsiteY488" fmla="*/ 276883 h 327651"/>
                <a:gd name="connsiteX489" fmla="*/ 75890 w 240576"/>
                <a:gd name="connsiteY489" fmla="*/ 280026 h 327651"/>
                <a:gd name="connsiteX490" fmla="*/ 76175 w 240576"/>
                <a:gd name="connsiteY490" fmla="*/ 283455 h 327651"/>
                <a:gd name="connsiteX491" fmla="*/ 30836 w 240576"/>
                <a:gd name="connsiteY491" fmla="*/ 272882 h 327651"/>
                <a:gd name="connsiteX492" fmla="*/ 37504 w 240576"/>
                <a:gd name="connsiteY492" fmla="*/ 268405 h 327651"/>
                <a:gd name="connsiteX493" fmla="*/ 37504 w 240576"/>
                <a:gd name="connsiteY493" fmla="*/ 269548 h 327651"/>
                <a:gd name="connsiteX494" fmla="*/ 37504 w 240576"/>
                <a:gd name="connsiteY494" fmla="*/ 272692 h 327651"/>
                <a:gd name="connsiteX495" fmla="*/ 37504 w 240576"/>
                <a:gd name="connsiteY495" fmla="*/ 275359 h 327651"/>
                <a:gd name="connsiteX496" fmla="*/ 36361 w 240576"/>
                <a:gd name="connsiteY496" fmla="*/ 275359 h 327651"/>
                <a:gd name="connsiteX497" fmla="*/ 33694 w 240576"/>
                <a:gd name="connsiteY497" fmla="*/ 276597 h 327651"/>
                <a:gd name="connsiteX498" fmla="*/ 29693 w 240576"/>
                <a:gd name="connsiteY498" fmla="*/ 279073 h 327651"/>
                <a:gd name="connsiteX499" fmla="*/ 29693 w 240576"/>
                <a:gd name="connsiteY499" fmla="*/ 276692 h 327651"/>
                <a:gd name="connsiteX500" fmla="*/ 30836 w 240576"/>
                <a:gd name="connsiteY500" fmla="*/ 272882 h 327651"/>
                <a:gd name="connsiteX501" fmla="*/ 202286 w 240576"/>
                <a:gd name="connsiteY501" fmla="*/ 268405 h 327651"/>
                <a:gd name="connsiteX502" fmla="*/ 208954 w 240576"/>
                <a:gd name="connsiteY502" fmla="*/ 272882 h 327651"/>
                <a:gd name="connsiteX503" fmla="*/ 209906 w 240576"/>
                <a:gd name="connsiteY503" fmla="*/ 276978 h 327651"/>
                <a:gd name="connsiteX504" fmla="*/ 209906 w 240576"/>
                <a:gd name="connsiteY504" fmla="*/ 279359 h 327651"/>
                <a:gd name="connsiteX505" fmla="*/ 206001 w 240576"/>
                <a:gd name="connsiteY505" fmla="*/ 276883 h 327651"/>
                <a:gd name="connsiteX506" fmla="*/ 203334 w 240576"/>
                <a:gd name="connsiteY506" fmla="*/ 275644 h 327651"/>
                <a:gd name="connsiteX507" fmla="*/ 202191 w 240576"/>
                <a:gd name="connsiteY507" fmla="*/ 275644 h 327651"/>
                <a:gd name="connsiteX508" fmla="*/ 202667 w 240576"/>
                <a:gd name="connsiteY508" fmla="*/ 272977 h 327651"/>
                <a:gd name="connsiteX509" fmla="*/ 202667 w 240576"/>
                <a:gd name="connsiteY509" fmla="*/ 269834 h 327651"/>
                <a:gd name="connsiteX510" fmla="*/ 202191 w 240576"/>
                <a:gd name="connsiteY510" fmla="*/ 268405 h 327651"/>
                <a:gd name="connsiteX511" fmla="*/ 201143 w 240576"/>
                <a:gd name="connsiteY511" fmla="*/ 276883 h 327651"/>
                <a:gd name="connsiteX512" fmla="*/ 208097 w 240576"/>
                <a:gd name="connsiteY512" fmla="*/ 280407 h 327651"/>
                <a:gd name="connsiteX513" fmla="*/ 209240 w 240576"/>
                <a:gd name="connsiteY513" fmla="*/ 285074 h 327651"/>
                <a:gd name="connsiteX514" fmla="*/ 209811 w 240576"/>
                <a:gd name="connsiteY514" fmla="*/ 286122 h 327651"/>
                <a:gd name="connsiteX515" fmla="*/ 210954 w 240576"/>
                <a:gd name="connsiteY515" fmla="*/ 286122 h 327651"/>
                <a:gd name="connsiteX516" fmla="*/ 219431 w 240576"/>
                <a:gd name="connsiteY516" fmla="*/ 293837 h 327651"/>
                <a:gd name="connsiteX517" fmla="*/ 219431 w 240576"/>
                <a:gd name="connsiteY517" fmla="*/ 293837 h 327651"/>
                <a:gd name="connsiteX518" fmla="*/ 214955 w 240576"/>
                <a:gd name="connsiteY518" fmla="*/ 303362 h 327651"/>
                <a:gd name="connsiteX519" fmla="*/ 214193 w 240576"/>
                <a:gd name="connsiteY519" fmla="*/ 304219 h 327651"/>
                <a:gd name="connsiteX520" fmla="*/ 213335 w 240576"/>
                <a:gd name="connsiteY520" fmla="*/ 307744 h 327651"/>
                <a:gd name="connsiteX521" fmla="*/ 208954 w 240576"/>
                <a:gd name="connsiteY521" fmla="*/ 314411 h 327651"/>
                <a:gd name="connsiteX522" fmla="*/ 127896 w 240576"/>
                <a:gd name="connsiteY522" fmla="*/ 323936 h 327651"/>
                <a:gd name="connsiteX523" fmla="*/ 111418 w 240576"/>
                <a:gd name="connsiteY523" fmla="*/ 323936 h 327651"/>
                <a:gd name="connsiteX524" fmla="*/ 30455 w 240576"/>
                <a:gd name="connsiteY524" fmla="*/ 314411 h 327651"/>
                <a:gd name="connsiteX525" fmla="*/ 26074 w 240576"/>
                <a:gd name="connsiteY525" fmla="*/ 307744 h 327651"/>
                <a:gd name="connsiteX526" fmla="*/ 25217 w 240576"/>
                <a:gd name="connsiteY526" fmla="*/ 304219 h 327651"/>
                <a:gd name="connsiteX527" fmla="*/ 24455 w 240576"/>
                <a:gd name="connsiteY527" fmla="*/ 303362 h 327651"/>
                <a:gd name="connsiteX528" fmla="*/ 19978 w 240576"/>
                <a:gd name="connsiteY528" fmla="*/ 293837 h 327651"/>
                <a:gd name="connsiteX529" fmla="*/ 19978 w 240576"/>
                <a:gd name="connsiteY529" fmla="*/ 293837 h 327651"/>
                <a:gd name="connsiteX530" fmla="*/ 28360 w 240576"/>
                <a:gd name="connsiteY530" fmla="*/ 286122 h 327651"/>
                <a:gd name="connsiteX531" fmla="*/ 29503 w 240576"/>
                <a:gd name="connsiteY531" fmla="*/ 286122 h 327651"/>
                <a:gd name="connsiteX532" fmla="*/ 30170 w 240576"/>
                <a:gd name="connsiteY532" fmla="*/ 285074 h 327651"/>
                <a:gd name="connsiteX533" fmla="*/ 31217 w 240576"/>
                <a:gd name="connsiteY533" fmla="*/ 280407 h 327651"/>
                <a:gd name="connsiteX534" fmla="*/ 38171 w 240576"/>
                <a:gd name="connsiteY534" fmla="*/ 276883 h 327651"/>
                <a:gd name="connsiteX535" fmla="*/ 38171 w 240576"/>
                <a:gd name="connsiteY535" fmla="*/ 276883 h 327651"/>
                <a:gd name="connsiteX536" fmla="*/ 66746 w 240576"/>
                <a:gd name="connsiteY536" fmla="*/ 283836 h 327651"/>
                <a:gd name="connsiteX537" fmla="*/ 69127 w 240576"/>
                <a:gd name="connsiteY537" fmla="*/ 288598 h 327651"/>
                <a:gd name="connsiteX538" fmla="*/ 70651 w 240576"/>
                <a:gd name="connsiteY538" fmla="*/ 291932 h 327651"/>
                <a:gd name="connsiteX539" fmla="*/ 71413 w 240576"/>
                <a:gd name="connsiteY539" fmla="*/ 292885 h 327651"/>
                <a:gd name="connsiteX540" fmla="*/ 71413 w 240576"/>
                <a:gd name="connsiteY540" fmla="*/ 292885 h 327651"/>
                <a:gd name="connsiteX541" fmla="*/ 72270 w 240576"/>
                <a:gd name="connsiteY541" fmla="*/ 292218 h 327651"/>
                <a:gd name="connsiteX542" fmla="*/ 74937 w 240576"/>
                <a:gd name="connsiteY542" fmla="*/ 287932 h 327651"/>
                <a:gd name="connsiteX543" fmla="*/ 76080 w 240576"/>
                <a:gd name="connsiteY543" fmla="*/ 286503 h 327651"/>
                <a:gd name="connsiteX544" fmla="*/ 76080 w 240576"/>
                <a:gd name="connsiteY544" fmla="*/ 286503 h 327651"/>
                <a:gd name="connsiteX545" fmla="*/ 76652 w 240576"/>
                <a:gd name="connsiteY545" fmla="*/ 285360 h 327651"/>
                <a:gd name="connsiteX546" fmla="*/ 94273 w 240576"/>
                <a:gd name="connsiteY546" fmla="*/ 286312 h 327651"/>
                <a:gd name="connsiteX547" fmla="*/ 103798 w 240576"/>
                <a:gd name="connsiteY547" fmla="*/ 286312 h 327651"/>
                <a:gd name="connsiteX548" fmla="*/ 105893 w 240576"/>
                <a:gd name="connsiteY548" fmla="*/ 285741 h 327651"/>
                <a:gd name="connsiteX549" fmla="*/ 109703 w 240576"/>
                <a:gd name="connsiteY549" fmla="*/ 289646 h 327651"/>
                <a:gd name="connsiteX550" fmla="*/ 111037 w 240576"/>
                <a:gd name="connsiteY550" fmla="*/ 290408 h 327651"/>
                <a:gd name="connsiteX551" fmla="*/ 112751 w 240576"/>
                <a:gd name="connsiteY551" fmla="*/ 292599 h 327651"/>
                <a:gd name="connsiteX552" fmla="*/ 113418 w 240576"/>
                <a:gd name="connsiteY552" fmla="*/ 293837 h 327651"/>
                <a:gd name="connsiteX553" fmla="*/ 114180 w 240576"/>
                <a:gd name="connsiteY553" fmla="*/ 293837 h 327651"/>
                <a:gd name="connsiteX554" fmla="*/ 114180 w 240576"/>
                <a:gd name="connsiteY554" fmla="*/ 293837 h 327651"/>
                <a:gd name="connsiteX555" fmla="*/ 114847 w 240576"/>
                <a:gd name="connsiteY555" fmla="*/ 293266 h 327651"/>
                <a:gd name="connsiteX556" fmla="*/ 117895 w 240576"/>
                <a:gd name="connsiteY556" fmla="*/ 285455 h 327651"/>
                <a:gd name="connsiteX557" fmla="*/ 121133 w 240576"/>
                <a:gd name="connsiteY557" fmla="*/ 285455 h 327651"/>
                <a:gd name="connsiteX558" fmla="*/ 123800 w 240576"/>
                <a:gd name="connsiteY558" fmla="*/ 293932 h 327651"/>
                <a:gd name="connsiteX559" fmla="*/ 124372 w 240576"/>
                <a:gd name="connsiteY559" fmla="*/ 294504 h 327651"/>
                <a:gd name="connsiteX560" fmla="*/ 124372 w 240576"/>
                <a:gd name="connsiteY560" fmla="*/ 294504 h 327651"/>
                <a:gd name="connsiteX561" fmla="*/ 125039 w 240576"/>
                <a:gd name="connsiteY561" fmla="*/ 294504 h 327651"/>
                <a:gd name="connsiteX562" fmla="*/ 125896 w 240576"/>
                <a:gd name="connsiteY562" fmla="*/ 293266 h 327651"/>
                <a:gd name="connsiteX563" fmla="*/ 127610 w 240576"/>
                <a:gd name="connsiteY563" fmla="*/ 291075 h 327651"/>
                <a:gd name="connsiteX564" fmla="*/ 128944 w 240576"/>
                <a:gd name="connsiteY564" fmla="*/ 290313 h 327651"/>
                <a:gd name="connsiteX565" fmla="*/ 132754 w 240576"/>
                <a:gd name="connsiteY565" fmla="*/ 286408 h 327651"/>
                <a:gd name="connsiteX566" fmla="*/ 134849 w 240576"/>
                <a:gd name="connsiteY566" fmla="*/ 286979 h 327651"/>
                <a:gd name="connsiteX567" fmla="*/ 144374 w 240576"/>
                <a:gd name="connsiteY567" fmla="*/ 286979 h 327651"/>
                <a:gd name="connsiteX568" fmla="*/ 161805 w 240576"/>
                <a:gd name="connsiteY568" fmla="*/ 286027 h 327651"/>
                <a:gd name="connsiteX569" fmla="*/ 162567 w 240576"/>
                <a:gd name="connsiteY569" fmla="*/ 287170 h 327651"/>
                <a:gd name="connsiteX570" fmla="*/ 162567 w 240576"/>
                <a:gd name="connsiteY570" fmla="*/ 287170 h 327651"/>
                <a:gd name="connsiteX571" fmla="*/ 163805 w 240576"/>
                <a:gd name="connsiteY571" fmla="*/ 288598 h 327651"/>
                <a:gd name="connsiteX572" fmla="*/ 166472 w 240576"/>
                <a:gd name="connsiteY572" fmla="*/ 292885 h 327651"/>
                <a:gd name="connsiteX573" fmla="*/ 167234 w 240576"/>
                <a:gd name="connsiteY573" fmla="*/ 293551 h 327651"/>
                <a:gd name="connsiteX574" fmla="*/ 167234 w 240576"/>
                <a:gd name="connsiteY574" fmla="*/ 293551 h 327651"/>
                <a:gd name="connsiteX575" fmla="*/ 167996 w 240576"/>
                <a:gd name="connsiteY575" fmla="*/ 292599 h 327651"/>
                <a:gd name="connsiteX576" fmla="*/ 169425 w 240576"/>
                <a:gd name="connsiteY576" fmla="*/ 289265 h 327651"/>
                <a:gd name="connsiteX577" fmla="*/ 171806 w 240576"/>
                <a:gd name="connsiteY577" fmla="*/ 284503 h 327651"/>
                <a:gd name="connsiteX578" fmla="*/ 200381 w 240576"/>
                <a:gd name="connsiteY578" fmla="*/ 277549 h 327651"/>
                <a:gd name="connsiteX579" fmla="*/ 201048 w 240576"/>
                <a:gd name="connsiteY579" fmla="*/ 276883 h 327651"/>
                <a:gd name="connsiteX580" fmla="*/ 163043 w 240576"/>
                <a:gd name="connsiteY580" fmla="*/ 280312 h 327651"/>
                <a:gd name="connsiteX581" fmla="*/ 165520 w 240576"/>
                <a:gd name="connsiteY581" fmla="*/ 277168 h 327651"/>
                <a:gd name="connsiteX582" fmla="*/ 166853 w 240576"/>
                <a:gd name="connsiteY582" fmla="*/ 277168 h 327651"/>
                <a:gd name="connsiteX583" fmla="*/ 167711 w 240576"/>
                <a:gd name="connsiteY583" fmla="*/ 277168 h 327651"/>
                <a:gd name="connsiteX584" fmla="*/ 170378 w 240576"/>
                <a:gd name="connsiteY584" fmla="*/ 279550 h 327651"/>
                <a:gd name="connsiteX585" fmla="*/ 170378 w 240576"/>
                <a:gd name="connsiteY585" fmla="*/ 280502 h 327651"/>
                <a:gd name="connsiteX586" fmla="*/ 170378 w 240576"/>
                <a:gd name="connsiteY586" fmla="*/ 282693 h 327651"/>
                <a:gd name="connsiteX587" fmla="*/ 167996 w 240576"/>
                <a:gd name="connsiteY587" fmla="*/ 288122 h 327651"/>
                <a:gd name="connsiteX588" fmla="*/ 166949 w 240576"/>
                <a:gd name="connsiteY588" fmla="*/ 289932 h 327651"/>
                <a:gd name="connsiteX589" fmla="*/ 164758 w 240576"/>
                <a:gd name="connsiteY589" fmla="*/ 287265 h 327651"/>
                <a:gd name="connsiteX590" fmla="*/ 163805 w 240576"/>
                <a:gd name="connsiteY590" fmla="*/ 286217 h 327651"/>
                <a:gd name="connsiteX591" fmla="*/ 163805 w 240576"/>
                <a:gd name="connsiteY591" fmla="*/ 286217 h 327651"/>
                <a:gd name="connsiteX592" fmla="*/ 162758 w 240576"/>
                <a:gd name="connsiteY592" fmla="*/ 283741 h 327651"/>
                <a:gd name="connsiteX593" fmla="*/ 163234 w 240576"/>
                <a:gd name="connsiteY593" fmla="*/ 280312 h 327651"/>
                <a:gd name="connsiteX594" fmla="*/ 189618 w 240576"/>
                <a:gd name="connsiteY594" fmla="*/ 269453 h 327651"/>
                <a:gd name="connsiteX595" fmla="*/ 196095 w 240576"/>
                <a:gd name="connsiteY595" fmla="*/ 267072 h 327651"/>
                <a:gd name="connsiteX596" fmla="*/ 199238 w 240576"/>
                <a:gd name="connsiteY596" fmla="*/ 267072 h 327651"/>
                <a:gd name="connsiteX597" fmla="*/ 199238 w 240576"/>
                <a:gd name="connsiteY597" fmla="*/ 267072 h 327651"/>
                <a:gd name="connsiteX598" fmla="*/ 199238 w 240576"/>
                <a:gd name="connsiteY598" fmla="*/ 267072 h 327651"/>
                <a:gd name="connsiteX599" fmla="*/ 200096 w 240576"/>
                <a:gd name="connsiteY599" fmla="*/ 268691 h 327651"/>
                <a:gd name="connsiteX600" fmla="*/ 200096 w 240576"/>
                <a:gd name="connsiteY600" fmla="*/ 272311 h 327651"/>
                <a:gd name="connsiteX601" fmla="*/ 200096 w 240576"/>
                <a:gd name="connsiteY601" fmla="*/ 274501 h 327651"/>
                <a:gd name="connsiteX602" fmla="*/ 200096 w 240576"/>
                <a:gd name="connsiteY602" fmla="*/ 274501 h 327651"/>
                <a:gd name="connsiteX603" fmla="*/ 200096 w 240576"/>
                <a:gd name="connsiteY603" fmla="*/ 274978 h 327651"/>
                <a:gd name="connsiteX604" fmla="*/ 182951 w 240576"/>
                <a:gd name="connsiteY604" fmla="*/ 279550 h 327651"/>
                <a:gd name="connsiteX605" fmla="*/ 173426 w 240576"/>
                <a:gd name="connsiteY605" fmla="*/ 281359 h 327651"/>
                <a:gd name="connsiteX606" fmla="*/ 173426 w 240576"/>
                <a:gd name="connsiteY606" fmla="*/ 281359 h 327651"/>
                <a:gd name="connsiteX607" fmla="*/ 173426 w 240576"/>
                <a:gd name="connsiteY607" fmla="*/ 278978 h 327651"/>
                <a:gd name="connsiteX608" fmla="*/ 173426 w 240576"/>
                <a:gd name="connsiteY608" fmla="*/ 278311 h 327651"/>
                <a:gd name="connsiteX609" fmla="*/ 169616 w 240576"/>
                <a:gd name="connsiteY609" fmla="*/ 274501 h 327651"/>
                <a:gd name="connsiteX610" fmla="*/ 169616 w 240576"/>
                <a:gd name="connsiteY610" fmla="*/ 274501 h 327651"/>
                <a:gd name="connsiteX611" fmla="*/ 168282 w 240576"/>
                <a:gd name="connsiteY611" fmla="*/ 274501 h 327651"/>
                <a:gd name="connsiteX612" fmla="*/ 166472 w 240576"/>
                <a:gd name="connsiteY612" fmla="*/ 274501 h 327651"/>
                <a:gd name="connsiteX613" fmla="*/ 164853 w 240576"/>
                <a:gd name="connsiteY613" fmla="*/ 275263 h 327651"/>
                <a:gd name="connsiteX614" fmla="*/ 164853 w 240576"/>
                <a:gd name="connsiteY614" fmla="*/ 275263 h 327651"/>
                <a:gd name="connsiteX615" fmla="*/ 161996 w 240576"/>
                <a:gd name="connsiteY615" fmla="*/ 279835 h 327651"/>
                <a:gd name="connsiteX616" fmla="*/ 161996 w 240576"/>
                <a:gd name="connsiteY616" fmla="*/ 282883 h 327651"/>
                <a:gd name="connsiteX617" fmla="*/ 161996 w 240576"/>
                <a:gd name="connsiteY617" fmla="*/ 282883 h 327651"/>
                <a:gd name="connsiteX618" fmla="*/ 150185 w 240576"/>
                <a:gd name="connsiteY618" fmla="*/ 283741 h 327651"/>
                <a:gd name="connsiteX619" fmla="*/ 135611 w 240576"/>
                <a:gd name="connsiteY619" fmla="*/ 283741 h 327651"/>
                <a:gd name="connsiteX620" fmla="*/ 133135 w 240576"/>
                <a:gd name="connsiteY620" fmla="*/ 282788 h 327651"/>
                <a:gd name="connsiteX621" fmla="*/ 131801 w 240576"/>
                <a:gd name="connsiteY621" fmla="*/ 281550 h 327651"/>
                <a:gd name="connsiteX622" fmla="*/ 131801 w 240576"/>
                <a:gd name="connsiteY622" fmla="*/ 281550 h 327651"/>
                <a:gd name="connsiteX623" fmla="*/ 131801 w 240576"/>
                <a:gd name="connsiteY623" fmla="*/ 280693 h 327651"/>
                <a:gd name="connsiteX624" fmla="*/ 130468 w 240576"/>
                <a:gd name="connsiteY624" fmla="*/ 278883 h 327651"/>
                <a:gd name="connsiteX625" fmla="*/ 130468 w 240576"/>
                <a:gd name="connsiteY625" fmla="*/ 277264 h 327651"/>
                <a:gd name="connsiteX626" fmla="*/ 134278 w 240576"/>
                <a:gd name="connsiteY626" fmla="*/ 274978 h 327651"/>
                <a:gd name="connsiteX627" fmla="*/ 139421 w 240576"/>
                <a:gd name="connsiteY627" fmla="*/ 274978 h 327651"/>
                <a:gd name="connsiteX628" fmla="*/ 143708 w 240576"/>
                <a:gd name="connsiteY628" fmla="*/ 274978 h 327651"/>
                <a:gd name="connsiteX629" fmla="*/ 154090 w 240576"/>
                <a:gd name="connsiteY629" fmla="*/ 274978 h 327651"/>
                <a:gd name="connsiteX630" fmla="*/ 157805 w 240576"/>
                <a:gd name="connsiteY630" fmla="*/ 274978 h 327651"/>
                <a:gd name="connsiteX631" fmla="*/ 167330 w 240576"/>
                <a:gd name="connsiteY631" fmla="*/ 274120 h 327651"/>
                <a:gd name="connsiteX632" fmla="*/ 189809 w 240576"/>
                <a:gd name="connsiteY632" fmla="*/ 269453 h 327651"/>
                <a:gd name="connsiteX633" fmla="*/ 187523 w 240576"/>
                <a:gd name="connsiteY633" fmla="*/ 268405 h 327651"/>
                <a:gd name="connsiteX634" fmla="*/ 180855 w 240576"/>
                <a:gd name="connsiteY634" fmla="*/ 270310 h 327651"/>
                <a:gd name="connsiteX635" fmla="*/ 171330 w 240576"/>
                <a:gd name="connsiteY635" fmla="*/ 256309 h 327651"/>
                <a:gd name="connsiteX636" fmla="*/ 177807 w 240576"/>
                <a:gd name="connsiteY636" fmla="*/ 234306 h 327651"/>
                <a:gd name="connsiteX637" fmla="*/ 177045 w 240576"/>
                <a:gd name="connsiteY637" fmla="*/ 231448 h 327651"/>
                <a:gd name="connsiteX638" fmla="*/ 170187 w 240576"/>
                <a:gd name="connsiteY638" fmla="*/ 254594 h 327651"/>
                <a:gd name="connsiteX639" fmla="*/ 161329 w 240576"/>
                <a:gd name="connsiteY639" fmla="*/ 241354 h 327651"/>
                <a:gd name="connsiteX640" fmla="*/ 160472 w 240576"/>
                <a:gd name="connsiteY640" fmla="*/ 241354 h 327651"/>
                <a:gd name="connsiteX641" fmla="*/ 159805 w 240576"/>
                <a:gd name="connsiteY641" fmla="*/ 242021 h 327651"/>
                <a:gd name="connsiteX642" fmla="*/ 154852 w 240576"/>
                <a:gd name="connsiteY642" fmla="*/ 256309 h 327651"/>
                <a:gd name="connsiteX643" fmla="*/ 145327 w 240576"/>
                <a:gd name="connsiteY643" fmla="*/ 242688 h 327651"/>
                <a:gd name="connsiteX644" fmla="*/ 149423 w 240576"/>
                <a:gd name="connsiteY644" fmla="*/ 221542 h 327651"/>
                <a:gd name="connsiteX645" fmla="*/ 157900 w 240576"/>
                <a:gd name="connsiteY645" fmla="*/ 232972 h 327651"/>
                <a:gd name="connsiteX646" fmla="*/ 158757 w 240576"/>
                <a:gd name="connsiteY646" fmla="*/ 232972 h 327651"/>
                <a:gd name="connsiteX647" fmla="*/ 159424 w 240576"/>
                <a:gd name="connsiteY647" fmla="*/ 232972 h 327651"/>
                <a:gd name="connsiteX648" fmla="*/ 164663 w 240576"/>
                <a:gd name="connsiteY648" fmla="*/ 218780 h 327651"/>
                <a:gd name="connsiteX649" fmla="*/ 224670 w 240576"/>
                <a:gd name="connsiteY649" fmla="*/ 263833 h 327651"/>
                <a:gd name="connsiteX650" fmla="*/ 220765 w 240576"/>
                <a:gd name="connsiteY650" fmla="*/ 260309 h 327651"/>
                <a:gd name="connsiteX651" fmla="*/ 220003 w 240576"/>
                <a:gd name="connsiteY651" fmla="*/ 259547 h 327651"/>
                <a:gd name="connsiteX652" fmla="*/ 213145 w 240576"/>
                <a:gd name="connsiteY652" fmla="*/ 74953 h 327651"/>
                <a:gd name="connsiteX653" fmla="*/ 201048 w 240576"/>
                <a:gd name="connsiteY653" fmla="*/ 86192 h 327651"/>
                <a:gd name="connsiteX654" fmla="*/ 207811 w 240576"/>
                <a:gd name="connsiteY654" fmla="*/ 248117 h 327651"/>
                <a:gd name="connsiteX655" fmla="*/ 202572 w 240576"/>
                <a:gd name="connsiteY655" fmla="*/ 243450 h 327651"/>
                <a:gd name="connsiteX656" fmla="*/ 202572 w 240576"/>
                <a:gd name="connsiteY656" fmla="*/ 243450 h 327651"/>
                <a:gd name="connsiteX657" fmla="*/ 201715 w 240576"/>
                <a:gd name="connsiteY657" fmla="*/ 242593 h 327651"/>
                <a:gd name="connsiteX658" fmla="*/ 195333 w 240576"/>
                <a:gd name="connsiteY658" fmla="*/ 91050 h 327651"/>
                <a:gd name="connsiteX659" fmla="*/ 185808 w 240576"/>
                <a:gd name="connsiteY659" fmla="*/ 97432 h 327651"/>
                <a:gd name="connsiteX660" fmla="*/ 191428 w 240576"/>
                <a:gd name="connsiteY660" fmla="*/ 233544 h 327651"/>
                <a:gd name="connsiteX661" fmla="*/ 186094 w 240576"/>
                <a:gd name="connsiteY661" fmla="*/ 228781 h 327651"/>
                <a:gd name="connsiteX662" fmla="*/ 185141 w 240576"/>
                <a:gd name="connsiteY662" fmla="*/ 228305 h 327651"/>
                <a:gd name="connsiteX663" fmla="*/ 179807 w 240576"/>
                <a:gd name="connsiteY663" fmla="*/ 100384 h 327651"/>
                <a:gd name="connsiteX664" fmla="*/ 171997 w 240576"/>
                <a:gd name="connsiteY664" fmla="*/ 104099 h 327651"/>
                <a:gd name="connsiteX665" fmla="*/ 171330 w 240576"/>
                <a:gd name="connsiteY665" fmla="*/ 103623 h 327651"/>
                <a:gd name="connsiteX666" fmla="*/ 120943 w 240576"/>
                <a:gd name="connsiteY666" fmla="*/ 89335 h 327651"/>
                <a:gd name="connsiteX667" fmla="*/ 120371 w 240576"/>
                <a:gd name="connsiteY667" fmla="*/ 89335 h 327651"/>
                <a:gd name="connsiteX668" fmla="*/ 119324 w 240576"/>
                <a:gd name="connsiteY668" fmla="*/ 89335 h 327651"/>
                <a:gd name="connsiteX669" fmla="*/ 118657 w 240576"/>
                <a:gd name="connsiteY669" fmla="*/ 89335 h 327651"/>
                <a:gd name="connsiteX670" fmla="*/ 68365 w 240576"/>
                <a:gd name="connsiteY670" fmla="*/ 103623 h 327651"/>
                <a:gd name="connsiteX671" fmla="*/ 67603 w 240576"/>
                <a:gd name="connsiteY671" fmla="*/ 104099 h 327651"/>
                <a:gd name="connsiteX672" fmla="*/ 59888 w 240576"/>
                <a:gd name="connsiteY672" fmla="*/ 100384 h 327651"/>
                <a:gd name="connsiteX673" fmla="*/ 54554 w 240576"/>
                <a:gd name="connsiteY673" fmla="*/ 228305 h 327651"/>
                <a:gd name="connsiteX674" fmla="*/ 53696 w 240576"/>
                <a:gd name="connsiteY674" fmla="*/ 228972 h 327651"/>
                <a:gd name="connsiteX675" fmla="*/ 48362 w 240576"/>
                <a:gd name="connsiteY675" fmla="*/ 233734 h 327651"/>
                <a:gd name="connsiteX676" fmla="*/ 54077 w 240576"/>
                <a:gd name="connsiteY676" fmla="*/ 97622 h 327651"/>
                <a:gd name="connsiteX677" fmla="*/ 44552 w 240576"/>
                <a:gd name="connsiteY677" fmla="*/ 91240 h 327651"/>
                <a:gd name="connsiteX678" fmla="*/ 38171 w 240576"/>
                <a:gd name="connsiteY678" fmla="*/ 242783 h 327651"/>
                <a:gd name="connsiteX679" fmla="*/ 37313 w 240576"/>
                <a:gd name="connsiteY679" fmla="*/ 243640 h 327651"/>
                <a:gd name="connsiteX680" fmla="*/ 37313 w 240576"/>
                <a:gd name="connsiteY680" fmla="*/ 243640 h 327651"/>
                <a:gd name="connsiteX681" fmla="*/ 32075 w 240576"/>
                <a:gd name="connsiteY681" fmla="*/ 248308 h 327651"/>
                <a:gd name="connsiteX682" fmla="*/ 38837 w 240576"/>
                <a:gd name="connsiteY682" fmla="*/ 86383 h 327651"/>
                <a:gd name="connsiteX683" fmla="*/ 26741 w 240576"/>
                <a:gd name="connsiteY683" fmla="*/ 75143 h 327651"/>
                <a:gd name="connsiteX684" fmla="*/ 19025 w 240576"/>
                <a:gd name="connsiteY684" fmla="*/ 259738 h 327651"/>
                <a:gd name="connsiteX685" fmla="*/ 18168 w 240576"/>
                <a:gd name="connsiteY685" fmla="*/ 260500 h 327651"/>
                <a:gd name="connsiteX686" fmla="*/ 14263 w 240576"/>
                <a:gd name="connsiteY686" fmla="*/ 264024 h 327651"/>
                <a:gd name="connsiteX687" fmla="*/ 22645 w 240576"/>
                <a:gd name="connsiteY687" fmla="*/ 71524 h 327651"/>
                <a:gd name="connsiteX688" fmla="*/ 10358 w 240576"/>
                <a:gd name="connsiteY688" fmla="*/ 77620 h 327651"/>
                <a:gd name="connsiteX689" fmla="*/ 10358 w 240576"/>
                <a:gd name="connsiteY689" fmla="*/ 75905 h 327651"/>
                <a:gd name="connsiteX690" fmla="*/ 21502 w 240576"/>
                <a:gd name="connsiteY690" fmla="*/ 58379 h 327651"/>
                <a:gd name="connsiteX691" fmla="*/ 27503 w 240576"/>
                <a:gd name="connsiteY691" fmla="*/ 57808 h 327651"/>
                <a:gd name="connsiteX692" fmla="*/ 57792 w 240576"/>
                <a:gd name="connsiteY692" fmla="*/ 68190 h 327651"/>
                <a:gd name="connsiteX693" fmla="*/ 64841 w 240576"/>
                <a:gd name="connsiteY693" fmla="*/ 71809 h 327651"/>
                <a:gd name="connsiteX694" fmla="*/ 88558 w 240576"/>
                <a:gd name="connsiteY694" fmla="*/ 76381 h 327651"/>
                <a:gd name="connsiteX695" fmla="*/ 85034 w 240576"/>
                <a:gd name="connsiteY695" fmla="*/ 80287 h 327651"/>
                <a:gd name="connsiteX696" fmla="*/ 85034 w 240576"/>
                <a:gd name="connsiteY696" fmla="*/ 81811 h 327651"/>
                <a:gd name="connsiteX697" fmla="*/ 86081 w 240576"/>
                <a:gd name="connsiteY697" fmla="*/ 82382 h 327651"/>
                <a:gd name="connsiteX698" fmla="*/ 86081 w 240576"/>
                <a:gd name="connsiteY698" fmla="*/ 82382 h 327651"/>
                <a:gd name="connsiteX699" fmla="*/ 88367 w 240576"/>
                <a:gd name="connsiteY699" fmla="*/ 82382 h 327651"/>
                <a:gd name="connsiteX700" fmla="*/ 100178 w 240576"/>
                <a:gd name="connsiteY700" fmla="*/ 77715 h 327651"/>
                <a:gd name="connsiteX701" fmla="*/ 99131 w 240576"/>
                <a:gd name="connsiteY701" fmla="*/ 84382 h 327651"/>
                <a:gd name="connsiteX702" fmla="*/ 99702 w 240576"/>
                <a:gd name="connsiteY702" fmla="*/ 85430 h 327651"/>
                <a:gd name="connsiteX703" fmla="*/ 100369 w 240576"/>
                <a:gd name="connsiteY703" fmla="*/ 85430 h 327651"/>
                <a:gd name="connsiteX704" fmla="*/ 100369 w 240576"/>
                <a:gd name="connsiteY704" fmla="*/ 85430 h 327651"/>
                <a:gd name="connsiteX705" fmla="*/ 110942 w 240576"/>
                <a:gd name="connsiteY705" fmla="*/ 77429 h 327651"/>
                <a:gd name="connsiteX706" fmla="*/ 110942 w 240576"/>
                <a:gd name="connsiteY706" fmla="*/ 77429 h 327651"/>
                <a:gd name="connsiteX707" fmla="*/ 110942 w 240576"/>
                <a:gd name="connsiteY707" fmla="*/ 77429 h 327651"/>
                <a:gd name="connsiteX708" fmla="*/ 117704 w 240576"/>
                <a:gd name="connsiteY708" fmla="*/ 84001 h 327651"/>
                <a:gd name="connsiteX709" fmla="*/ 118466 w 240576"/>
                <a:gd name="connsiteY709" fmla="*/ 84001 h 327651"/>
                <a:gd name="connsiteX710" fmla="*/ 118466 w 240576"/>
                <a:gd name="connsiteY710" fmla="*/ 84001 h 327651"/>
                <a:gd name="connsiteX711" fmla="*/ 119419 w 240576"/>
                <a:gd name="connsiteY711" fmla="*/ 84001 h 327651"/>
                <a:gd name="connsiteX712" fmla="*/ 119419 w 240576"/>
                <a:gd name="connsiteY712" fmla="*/ 84001 h 327651"/>
                <a:gd name="connsiteX713" fmla="*/ 124943 w 240576"/>
                <a:gd name="connsiteY713" fmla="*/ 78001 h 327651"/>
                <a:gd name="connsiteX714" fmla="*/ 140088 w 240576"/>
                <a:gd name="connsiteY714" fmla="*/ 85049 h 327651"/>
                <a:gd name="connsiteX715" fmla="*/ 141232 w 240576"/>
                <a:gd name="connsiteY715" fmla="*/ 83723 h 327651"/>
                <a:gd name="connsiteX716" fmla="*/ 141231 w 240576"/>
                <a:gd name="connsiteY716" fmla="*/ 83716 h 327651"/>
                <a:gd name="connsiteX717" fmla="*/ 140183 w 240576"/>
                <a:gd name="connsiteY717" fmla="*/ 79239 h 327651"/>
                <a:gd name="connsiteX718" fmla="*/ 151328 w 240576"/>
                <a:gd name="connsiteY718" fmla="*/ 81620 h 327651"/>
                <a:gd name="connsiteX719" fmla="*/ 152280 w 240576"/>
                <a:gd name="connsiteY719" fmla="*/ 81049 h 327651"/>
                <a:gd name="connsiteX720" fmla="*/ 152280 w 240576"/>
                <a:gd name="connsiteY720" fmla="*/ 79810 h 327651"/>
                <a:gd name="connsiteX721" fmla="*/ 152280 w 240576"/>
                <a:gd name="connsiteY721" fmla="*/ 79810 h 327651"/>
                <a:gd name="connsiteX722" fmla="*/ 150280 w 240576"/>
                <a:gd name="connsiteY722" fmla="*/ 77143 h 327651"/>
                <a:gd name="connsiteX723" fmla="*/ 163615 w 240576"/>
                <a:gd name="connsiteY723" fmla="*/ 75524 h 327651"/>
                <a:gd name="connsiteX724" fmla="*/ 175045 w 240576"/>
                <a:gd name="connsiteY724" fmla="*/ 72190 h 327651"/>
                <a:gd name="connsiteX725" fmla="*/ 182093 w 240576"/>
                <a:gd name="connsiteY725" fmla="*/ 68571 h 327651"/>
                <a:gd name="connsiteX726" fmla="*/ 212383 w 240576"/>
                <a:gd name="connsiteY726" fmla="*/ 58189 h 327651"/>
                <a:gd name="connsiteX727" fmla="*/ 218288 w 240576"/>
                <a:gd name="connsiteY727" fmla="*/ 58760 h 327651"/>
                <a:gd name="connsiteX728" fmla="*/ 229528 w 240576"/>
                <a:gd name="connsiteY728" fmla="*/ 76286 h 327651"/>
                <a:gd name="connsiteX729" fmla="*/ 229528 w 240576"/>
                <a:gd name="connsiteY729" fmla="*/ 77620 h 327651"/>
                <a:gd name="connsiteX730" fmla="*/ 217241 w 240576"/>
                <a:gd name="connsiteY730" fmla="*/ 71524 h 32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</a:cxnLst>
              <a:rect l="l" t="t" r="r" b="b"/>
              <a:pathLst>
                <a:path w="240576" h="327651">
                  <a:moveTo>
                    <a:pt x="240577" y="277740"/>
                  </a:moveTo>
                  <a:lnTo>
                    <a:pt x="240577" y="277168"/>
                  </a:lnTo>
                  <a:cubicBezTo>
                    <a:pt x="240577" y="274692"/>
                    <a:pt x="240577" y="272215"/>
                    <a:pt x="240577" y="269644"/>
                  </a:cubicBezTo>
                  <a:lnTo>
                    <a:pt x="239910" y="255451"/>
                  </a:lnTo>
                  <a:lnTo>
                    <a:pt x="239053" y="236401"/>
                  </a:lnTo>
                  <a:lnTo>
                    <a:pt x="234671" y="137627"/>
                  </a:lnTo>
                  <a:cubicBezTo>
                    <a:pt x="234671" y="130007"/>
                    <a:pt x="234100" y="122387"/>
                    <a:pt x="233719" y="114577"/>
                  </a:cubicBezTo>
                  <a:lnTo>
                    <a:pt x="232195" y="75905"/>
                  </a:lnTo>
                  <a:cubicBezTo>
                    <a:pt x="232195" y="69142"/>
                    <a:pt x="228004" y="57903"/>
                    <a:pt x="219146" y="56188"/>
                  </a:cubicBezTo>
                  <a:cubicBezTo>
                    <a:pt x="205646" y="54878"/>
                    <a:pt x="192125" y="58462"/>
                    <a:pt x="181046" y="66285"/>
                  </a:cubicBezTo>
                  <a:lnTo>
                    <a:pt x="174092" y="69809"/>
                  </a:lnTo>
                  <a:cubicBezTo>
                    <a:pt x="166470" y="72508"/>
                    <a:pt x="158460" y="73955"/>
                    <a:pt x="150375" y="74095"/>
                  </a:cubicBezTo>
                  <a:cubicBezTo>
                    <a:pt x="148854" y="71771"/>
                    <a:pt x="147607" y="69278"/>
                    <a:pt x="146660" y="66666"/>
                  </a:cubicBezTo>
                  <a:cubicBezTo>
                    <a:pt x="145354" y="63600"/>
                    <a:pt x="144365" y="60408"/>
                    <a:pt x="143708" y="57141"/>
                  </a:cubicBezTo>
                  <a:cubicBezTo>
                    <a:pt x="142589" y="49703"/>
                    <a:pt x="142270" y="42167"/>
                    <a:pt x="142755" y="34662"/>
                  </a:cubicBezTo>
                  <a:cubicBezTo>
                    <a:pt x="142755" y="32566"/>
                    <a:pt x="142755" y="30661"/>
                    <a:pt x="142755" y="28852"/>
                  </a:cubicBezTo>
                  <a:cubicBezTo>
                    <a:pt x="143093" y="22733"/>
                    <a:pt x="141846" y="16631"/>
                    <a:pt x="139136" y="11135"/>
                  </a:cubicBezTo>
                  <a:cubicBezTo>
                    <a:pt x="139201" y="10853"/>
                    <a:pt x="139201" y="10560"/>
                    <a:pt x="139136" y="10278"/>
                  </a:cubicBezTo>
                  <a:cubicBezTo>
                    <a:pt x="136877" y="6490"/>
                    <a:pt x="133155" y="3801"/>
                    <a:pt x="128849" y="2848"/>
                  </a:cubicBezTo>
                  <a:lnTo>
                    <a:pt x="120276" y="1134"/>
                  </a:lnTo>
                  <a:cubicBezTo>
                    <a:pt x="115133" y="-9"/>
                    <a:pt x="114085" y="-390"/>
                    <a:pt x="112656" y="467"/>
                  </a:cubicBezTo>
                  <a:cubicBezTo>
                    <a:pt x="111842" y="802"/>
                    <a:pt x="111169" y="1407"/>
                    <a:pt x="110751" y="2182"/>
                  </a:cubicBezTo>
                  <a:cubicBezTo>
                    <a:pt x="106255" y="791"/>
                    <a:pt x="101535" y="273"/>
                    <a:pt x="96845" y="658"/>
                  </a:cubicBezTo>
                  <a:cubicBezTo>
                    <a:pt x="93600" y="1072"/>
                    <a:pt x="90795" y="3122"/>
                    <a:pt x="89415" y="6087"/>
                  </a:cubicBezTo>
                  <a:cubicBezTo>
                    <a:pt x="89384" y="6308"/>
                    <a:pt x="89384" y="6533"/>
                    <a:pt x="89415" y="6754"/>
                  </a:cubicBezTo>
                  <a:cubicBezTo>
                    <a:pt x="89362" y="6940"/>
                    <a:pt x="89362" y="7138"/>
                    <a:pt x="89415" y="7325"/>
                  </a:cubicBezTo>
                  <a:cubicBezTo>
                    <a:pt x="88855" y="9706"/>
                    <a:pt x="88855" y="12184"/>
                    <a:pt x="89415" y="14564"/>
                  </a:cubicBezTo>
                  <a:lnTo>
                    <a:pt x="89415" y="14564"/>
                  </a:lnTo>
                  <a:lnTo>
                    <a:pt x="89415" y="14564"/>
                  </a:lnTo>
                  <a:lnTo>
                    <a:pt x="89415" y="14564"/>
                  </a:lnTo>
                  <a:lnTo>
                    <a:pt x="91225" y="14564"/>
                  </a:lnTo>
                  <a:lnTo>
                    <a:pt x="91225" y="14564"/>
                  </a:lnTo>
                  <a:lnTo>
                    <a:pt x="91225" y="14564"/>
                  </a:lnTo>
                  <a:lnTo>
                    <a:pt x="92749" y="13993"/>
                  </a:lnTo>
                  <a:cubicBezTo>
                    <a:pt x="93155" y="13722"/>
                    <a:pt x="93607" y="13529"/>
                    <a:pt x="94082" y="13421"/>
                  </a:cubicBezTo>
                  <a:cubicBezTo>
                    <a:pt x="95072" y="13094"/>
                    <a:pt x="96141" y="13094"/>
                    <a:pt x="97130" y="13421"/>
                  </a:cubicBezTo>
                  <a:cubicBezTo>
                    <a:pt x="99978" y="14507"/>
                    <a:pt x="102320" y="16611"/>
                    <a:pt x="103703" y="19327"/>
                  </a:cubicBezTo>
                  <a:cubicBezTo>
                    <a:pt x="104676" y="20757"/>
                    <a:pt x="105326" y="22382"/>
                    <a:pt x="105608" y="24089"/>
                  </a:cubicBezTo>
                  <a:cubicBezTo>
                    <a:pt x="105904" y="25534"/>
                    <a:pt x="106095" y="26998"/>
                    <a:pt x="106179" y="28471"/>
                  </a:cubicBezTo>
                  <a:cubicBezTo>
                    <a:pt x="106468" y="32050"/>
                    <a:pt x="106179" y="35652"/>
                    <a:pt x="105322" y="39139"/>
                  </a:cubicBezTo>
                  <a:lnTo>
                    <a:pt x="105322" y="40282"/>
                  </a:lnTo>
                  <a:cubicBezTo>
                    <a:pt x="102742" y="52338"/>
                    <a:pt x="97998" y="63827"/>
                    <a:pt x="91320" y="74191"/>
                  </a:cubicBezTo>
                  <a:cubicBezTo>
                    <a:pt x="82977" y="74152"/>
                    <a:pt x="74701" y="72703"/>
                    <a:pt x="66841" y="69904"/>
                  </a:cubicBezTo>
                  <a:cubicBezTo>
                    <a:pt x="64555" y="68857"/>
                    <a:pt x="62269" y="67618"/>
                    <a:pt x="59888" y="66380"/>
                  </a:cubicBezTo>
                  <a:cubicBezTo>
                    <a:pt x="48808" y="58557"/>
                    <a:pt x="35287" y="54974"/>
                    <a:pt x="21788" y="56284"/>
                  </a:cubicBezTo>
                  <a:cubicBezTo>
                    <a:pt x="12739" y="57998"/>
                    <a:pt x="8929" y="69238"/>
                    <a:pt x="8643" y="76000"/>
                  </a:cubicBezTo>
                  <a:lnTo>
                    <a:pt x="7024" y="114100"/>
                  </a:lnTo>
                  <a:cubicBezTo>
                    <a:pt x="7024" y="121911"/>
                    <a:pt x="6262" y="129531"/>
                    <a:pt x="5976" y="137151"/>
                  </a:cubicBezTo>
                  <a:lnTo>
                    <a:pt x="1690" y="235925"/>
                  </a:lnTo>
                  <a:lnTo>
                    <a:pt x="833" y="254975"/>
                  </a:lnTo>
                  <a:lnTo>
                    <a:pt x="166" y="269167"/>
                  </a:lnTo>
                  <a:cubicBezTo>
                    <a:pt x="166" y="271739"/>
                    <a:pt x="166" y="274216"/>
                    <a:pt x="166" y="276692"/>
                  </a:cubicBezTo>
                  <a:lnTo>
                    <a:pt x="166" y="277264"/>
                  </a:lnTo>
                  <a:cubicBezTo>
                    <a:pt x="-55" y="277647"/>
                    <a:pt x="-55" y="278119"/>
                    <a:pt x="166" y="278502"/>
                  </a:cubicBezTo>
                  <a:cubicBezTo>
                    <a:pt x="414" y="278582"/>
                    <a:pt x="680" y="278582"/>
                    <a:pt x="928" y="278502"/>
                  </a:cubicBezTo>
                  <a:lnTo>
                    <a:pt x="1690" y="278502"/>
                  </a:lnTo>
                  <a:lnTo>
                    <a:pt x="1690" y="278502"/>
                  </a:lnTo>
                  <a:lnTo>
                    <a:pt x="15025" y="266405"/>
                  </a:lnTo>
                  <a:cubicBezTo>
                    <a:pt x="16644" y="265167"/>
                    <a:pt x="18168" y="263643"/>
                    <a:pt x="19883" y="262119"/>
                  </a:cubicBezTo>
                  <a:lnTo>
                    <a:pt x="20740" y="261452"/>
                  </a:lnTo>
                  <a:lnTo>
                    <a:pt x="39028" y="244974"/>
                  </a:lnTo>
                  <a:lnTo>
                    <a:pt x="39028" y="244974"/>
                  </a:lnTo>
                  <a:lnTo>
                    <a:pt x="39695" y="244212"/>
                  </a:lnTo>
                  <a:lnTo>
                    <a:pt x="49220" y="236020"/>
                  </a:lnTo>
                  <a:lnTo>
                    <a:pt x="55316" y="230496"/>
                  </a:lnTo>
                  <a:lnTo>
                    <a:pt x="56173" y="229639"/>
                  </a:lnTo>
                  <a:lnTo>
                    <a:pt x="62840" y="223733"/>
                  </a:lnTo>
                  <a:lnTo>
                    <a:pt x="50267" y="267834"/>
                  </a:lnTo>
                  <a:lnTo>
                    <a:pt x="43981" y="265453"/>
                  </a:lnTo>
                  <a:cubicBezTo>
                    <a:pt x="42388" y="264922"/>
                    <a:pt x="40641" y="265132"/>
                    <a:pt x="39218" y="266024"/>
                  </a:cubicBezTo>
                  <a:lnTo>
                    <a:pt x="39218" y="266024"/>
                  </a:lnTo>
                  <a:lnTo>
                    <a:pt x="39218" y="266024"/>
                  </a:lnTo>
                  <a:cubicBezTo>
                    <a:pt x="35398" y="266621"/>
                    <a:pt x="31972" y="268711"/>
                    <a:pt x="29693" y="271834"/>
                  </a:cubicBezTo>
                  <a:cubicBezTo>
                    <a:pt x="28353" y="274142"/>
                    <a:pt x="28042" y="276906"/>
                    <a:pt x="28836" y="279454"/>
                  </a:cubicBezTo>
                  <a:cubicBezTo>
                    <a:pt x="28418" y="280626"/>
                    <a:pt x="28130" y="281840"/>
                    <a:pt x="27979" y="283074"/>
                  </a:cubicBezTo>
                  <a:cubicBezTo>
                    <a:pt x="25788" y="283074"/>
                    <a:pt x="21788" y="284884"/>
                    <a:pt x="18454" y="291551"/>
                  </a:cubicBezTo>
                  <a:lnTo>
                    <a:pt x="15692" y="291551"/>
                  </a:lnTo>
                  <a:cubicBezTo>
                    <a:pt x="14876" y="291760"/>
                    <a:pt x="14385" y="292590"/>
                    <a:pt x="14593" y="293406"/>
                  </a:cubicBezTo>
                  <a:cubicBezTo>
                    <a:pt x="14731" y="293945"/>
                    <a:pt x="15152" y="294366"/>
                    <a:pt x="15692" y="294504"/>
                  </a:cubicBezTo>
                  <a:lnTo>
                    <a:pt x="17882" y="295171"/>
                  </a:lnTo>
                  <a:cubicBezTo>
                    <a:pt x="17772" y="299457"/>
                    <a:pt x="19506" y="303585"/>
                    <a:pt x="22645" y="306505"/>
                  </a:cubicBezTo>
                  <a:cubicBezTo>
                    <a:pt x="22722" y="307202"/>
                    <a:pt x="22722" y="307905"/>
                    <a:pt x="22645" y="308601"/>
                  </a:cubicBezTo>
                  <a:cubicBezTo>
                    <a:pt x="22396" y="312819"/>
                    <a:pt x="24955" y="316697"/>
                    <a:pt x="28931" y="318126"/>
                  </a:cubicBezTo>
                  <a:cubicBezTo>
                    <a:pt x="55837" y="324479"/>
                    <a:pt x="83391" y="327675"/>
                    <a:pt x="111037" y="327651"/>
                  </a:cubicBezTo>
                  <a:lnTo>
                    <a:pt x="130087" y="327651"/>
                  </a:lnTo>
                  <a:cubicBezTo>
                    <a:pt x="156971" y="327553"/>
                    <a:pt x="183754" y="324357"/>
                    <a:pt x="209906" y="318126"/>
                  </a:cubicBezTo>
                  <a:cubicBezTo>
                    <a:pt x="213883" y="316697"/>
                    <a:pt x="216442" y="312819"/>
                    <a:pt x="216193" y="308601"/>
                  </a:cubicBezTo>
                  <a:cubicBezTo>
                    <a:pt x="216116" y="307905"/>
                    <a:pt x="216116" y="307202"/>
                    <a:pt x="216193" y="306505"/>
                  </a:cubicBezTo>
                  <a:cubicBezTo>
                    <a:pt x="220193" y="304315"/>
                    <a:pt x="221432" y="298028"/>
                    <a:pt x="221813" y="295456"/>
                  </a:cubicBezTo>
                  <a:lnTo>
                    <a:pt x="224003" y="294790"/>
                  </a:lnTo>
                  <a:cubicBezTo>
                    <a:pt x="224758" y="294645"/>
                    <a:pt x="225263" y="293930"/>
                    <a:pt x="225146" y="293170"/>
                  </a:cubicBezTo>
                  <a:cubicBezTo>
                    <a:pt x="225047" y="292366"/>
                    <a:pt x="224336" y="291780"/>
                    <a:pt x="223527" y="291837"/>
                  </a:cubicBezTo>
                  <a:lnTo>
                    <a:pt x="220765" y="291837"/>
                  </a:lnTo>
                  <a:cubicBezTo>
                    <a:pt x="217145" y="285169"/>
                    <a:pt x="213240" y="283550"/>
                    <a:pt x="211240" y="283360"/>
                  </a:cubicBezTo>
                  <a:cubicBezTo>
                    <a:pt x="211060" y="282121"/>
                    <a:pt x="210741" y="280907"/>
                    <a:pt x="210287" y="279740"/>
                  </a:cubicBezTo>
                  <a:cubicBezTo>
                    <a:pt x="211111" y="277205"/>
                    <a:pt x="210834" y="274442"/>
                    <a:pt x="209525" y="272120"/>
                  </a:cubicBezTo>
                  <a:cubicBezTo>
                    <a:pt x="207233" y="269012"/>
                    <a:pt x="203813" y="266926"/>
                    <a:pt x="200000" y="266310"/>
                  </a:cubicBezTo>
                  <a:lnTo>
                    <a:pt x="200000" y="266310"/>
                  </a:lnTo>
                  <a:cubicBezTo>
                    <a:pt x="200000" y="266310"/>
                    <a:pt x="200000" y="266310"/>
                    <a:pt x="200000" y="266310"/>
                  </a:cubicBezTo>
                  <a:cubicBezTo>
                    <a:pt x="198652" y="265409"/>
                    <a:pt x="196957" y="265197"/>
                    <a:pt x="195428" y="265738"/>
                  </a:cubicBezTo>
                  <a:lnTo>
                    <a:pt x="189142" y="268120"/>
                  </a:lnTo>
                  <a:lnTo>
                    <a:pt x="176950" y="223543"/>
                  </a:lnTo>
                  <a:lnTo>
                    <a:pt x="184475" y="230305"/>
                  </a:lnTo>
                  <a:cubicBezTo>
                    <a:pt x="186189" y="231925"/>
                    <a:pt x="187904" y="233544"/>
                    <a:pt x="189618" y="234973"/>
                  </a:cubicBezTo>
                  <a:lnTo>
                    <a:pt x="190571" y="235830"/>
                  </a:lnTo>
                  <a:lnTo>
                    <a:pt x="200096" y="244783"/>
                  </a:lnTo>
                  <a:lnTo>
                    <a:pt x="200096" y="244783"/>
                  </a:lnTo>
                  <a:lnTo>
                    <a:pt x="205430" y="249546"/>
                  </a:lnTo>
                  <a:lnTo>
                    <a:pt x="219241" y="261928"/>
                  </a:lnTo>
                  <a:cubicBezTo>
                    <a:pt x="220860" y="263452"/>
                    <a:pt x="222479" y="264976"/>
                    <a:pt x="224003" y="266215"/>
                  </a:cubicBezTo>
                  <a:lnTo>
                    <a:pt x="238100" y="278883"/>
                  </a:lnTo>
                  <a:lnTo>
                    <a:pt x="238100" y="278883"/>
                  </a:lnTo>
                  <a:lnTo>
                    <a:pt x="238958" y="278883"/>
                  </a:lnTo>
                  <a:cubicBezTo>
                    <a:pt x="239205" y="278963"/>
                    <a:pt x="239472" y="278963"/>
                    <a:pt x="239720" y="278883"/>
                  </a:cubicBezTo>
                  <a:cubicBezTo>
                    <a:pt x="240219" y="278722"/>
                    <a:pt x="240562" y="278264"/>
                    <a:pt x="240577" y="277740"/>
                  </a:cubicBezTo>
                  <a:close/>
                  <a:moveTo>
                    <a:pt x="117895" y="7325"/>
                  </a:moveTo>
                  <a:cubicBezTo>
                    <a:pt x="119184" y="7063"/>
                    <a:pt x="120441" y="7896"/>
                    <a:pt x="120702" y="9185"/>
                  </a:cubicBezTo>
                  <a:cubicBezTo>
                    <a:pt x="120964" y="10474"/>
                    <a:pt x="120131" y="11731"/>
                    <a:pt x="118843" y="11992"/>
                  </a:cubicBezTo>
                  <a:cubicBezTo>
                    <a:pt x="118530" y="12056"/>
                    <a:pt x="118208" y="12056"/>
                    <a:pt x="117895" y="11992"/>
                  </a:cubicBezTo>
                  <a:cubicBezTo>
                    <a:pt x="116606" y="11731"/>
                    <a:pt x="115773" y="10474"/>
                    <a:pt x="116035" y="9185"/>
                  </a:cubicBezTo>
                  <a:cubicBezTo>
                    <a:pt x="116225" y="8248"/>
                    <a:pt x="116958" y="7515"/>
                    <a:pt x="117895" y="7325"/>
                  </a:cubicBezTo>
                  <a:close/>
                  <a:moveTo>
                    <a:pt x="91415" y="76858"/>
                  </a:moveTo>
                  <a:cubicBezTo>
                    <a:pt x="91987" y="76191"/>
                    <a:pt x="92558" y="75334"/>
                    <a:pt x="93035" y="74667"/>
                  </a:cubicBezTo>
                  <a:cubicBezTo>
                    <a:pt x="93511" y="74000"/>
                    <a:pt x="94082" y="73143"/>
                    <a:pt x="94463" y="72286"/>
                  </a:cubicBezTo>
                  <a:cubicBezTo>
                    <a:pt x="94844" y="71428"/>
                    <a:pt x="95416" y="70857"/>
                    <a:pt x="95892" y="70000"/>
                  </a:cubicBezTo>
                  <a:lnTo>
                    <a:pt x="96559" y="68857"/>
                  </a:lnTo>
                  <a:cubicBezTo>
                    <a:pt x="96559" y="68857"/>
                    <a:pt x="96559" y="67999"/>
                    <a:pt x="97130" y="67714"/>
                  </a:cubicBezTo>
                  <a:cubicBezTo>
                    <a:pt x="97702" y="67428"/>
                    <a:pt x="97988" y="65904"/>
                    <a:pt x="98464" y="65142"/>
                  </a:cubicBezTo>
                  <a:lnTo>
                    <a:pt x="98464" y="64285"/>
                  </a:lnTo>
                  <a:cubicBezTo>
                    <a:pt x="98464" y="64285"/>
                    <a:pt x="98940" y="63427"/>
                    <a:pt x="99226" y="62951"/>
                  </a:cubicBezTo>
                  <a:cubicBezTo>
                    <a:pt x="99359" y="62423"/>
                    <a:pt x="99550" y="61912"/>
                    <a:pt x="99797" y="61427"/>
                  </a:cubicBezTo>
                  <a:lnTo>
                    <a:pt x="99797" y="61427"/>
                  </a:lnTo>
                  <a:cubicBezTo>
                    <a:pt x="99757" y="61143"/>
                    <a:pt x="99757" y="60854"/>
                    <a:pt x="99797" y="60570"/>
                  </a:cubicBezTo>
                  <a:cubicBezTo>
                    <a:pt x="99797" y="59998"/>
                    <a:pt x="99797" y="59427"/>
                    <a:pt x="100464" y="58760"/>
                  </a:cubicBezTo>
                  <a:lnTo>
                    <a:pt x="100940" y="57712"/>
                  </a:lnTo>
                  <a:cubicBezTo>
                    <a:pt x="101105" y="57151"/>
                    <a:pt x="101328" y="56608"/>
                    <a:pt x="101607" y="56093"/>
                  </a:cubicBezTo>
                  <a:cubicBezTo>
                    <a:pt x="101607" y="54760"/>
                    <a:pt x="102369" y="53521"/>
                    <a:pt x="102750" y="52474"/>
                  </a:cubicBezTo>
                  <a:cubicBezTo>
                    <a:pt x="102773" y="52220"/>
                    <a:pt x="102773" y="51965"/>
                    <a:pt x="102750" y="51712"/>
                  </a:cubicBezTo>
                  <a:cubicBezTo>
                    <a:pt x="102779" y="51299"/>
                    <a:pt x="102779" y="50886"/>
                    <a:pt x="102750" y="50473"/>
                  </a:cubicBezTo>
                  <a:cubicBezTo>
                    <a:pt x="102805" y="50126"/>
                    <a:pt x="102805" y="49773"/>
                    <a:pt x="102750" y="49426"/>
                  </a:cubicBezTo>
                  <a:cubicBezTo>
                    <a:pt x="103798" y="46092"/>
                    <a:pt x="104560" y="43234"/>
                    <a:pt x="105131" y="41139"/>
                  </a:cubicBezTo>
                  <a:lnTo>
                    <a:pt x="105131" y="39996"/>
                  </a:lnTo>
                  <a:cubicBezTo>
                    <a:pt x="106569" y="36246"/>
                    <a:pt x="107405" y="32292"/>
                    <a:pt x="107608" y="28280"/>
                  </a:cubicBezTo>
                  <a:cubicBezTo>
                    <a:pt x="107562" y="26616"/>
                    <a:pt x="107371" y="24958"/>
                    <a:pt x="107036" y="23327"/>
                  </a:cubicBezTo>
                  <a:cubicBezTo>
                    <a:pt x="106983" y="22948"/>
                    <a:pt x="106983" y="22563"/>
                    <a:pt x="107036" y="22184"/>
                  </a:cubicBezTo>
                  <a:cubicBezTo>
                    <a:pt x="108179" y="21136"/>
                    <a:pt x="110465" y="22184"/>
                    <a:pt x="114085" y="22184"/>
                  </a:cubicBezTo>
                  <a:cubicBezTo>
                    <a:pt x="106370" y="10754"/>
                    <a:pt x="101893" y="9706"/>
                    <a:pt x="97988" y="8754"/>
                  </a:cubicBezTo>
                  <a:cubicBezTo>
                    <a:pt x="95519" y="8245"/>
                    <a:pt x="93038" y="9565"/>
                    <a:pt x="92082" y="11897"/>
                  </a:cubicBezTo>
                  <a:lnTo>
                    <a:pt x="91130" y="12373"/>
                  </a:lnTo>
                  <a:cubicBezTo>
                    <a:pt x="90978" y="12304"/>
                    <a:pt x="90805" y="12304"/>
                    <a:pt x="90653" y="12373"/>
                  </a:cubicBezTo>
                  <a:cubicBezTo>
                    <a:pt x="90558" y="11137"/>
                    <a:pt x="90558" y="9895"/>
                    <a:pt x="90653" y="8659"/>
                  </a:cubicBezTo>
                  <a:lnTo>
                    <a:pt x="90653" y="7706"/>
                  </a:lnTo>
                  <a:lnTo>
                    <a:pt x="90653" y="7706"/>
                  </a:lnTo>
                  <a:cubicBezTo>
                    <a:pt x="90780" y="7277"/>
                    <a:pt x="91009" y="6884"/>
                    <a:pt x="91320" y="6563"/>
                  </a:cubicBezTo>
                  <a:cubicBezTo>
                    <a:pt x="92179" y="5806"/>
                    <a:pt x="93237" y="5310"/>
                    <a:pt x="94368" y="5134"/>
                  </a:cubicBezTo>
                  <a:cubicBezTo>
                    <a:pt x="95921" y="4993"/>
                    <a:pt x="97483" y="4993"/>
                    <a:pt x="99035" y="5134"/>
                  </a:cubicBezTo>
                  <a:cubicBezTo>
                    <a:pt x="100299" y="5065"/>
                    <a:pt x="101537" y="5512"/>
                    <a:pt x="102464" y="6373"/>
                  </a:cubicBezTo>
                  <a:cubicBezTo>
                    <a:pt x="104445" y="8148"/>
                    <a:pt x="106581" y="9742"/>
                    <a:pt x="108846" y="11135"/>
                  </a:cubicBezTo>
                  <a:cubicBezTo>
                    <a:pt x="110420" y="12288"/>
                    <a:pt x="112251" y="13040"/>
                    <a:pt x="114180" y="13326"/>
                  </a:cubicBezTo>
                  <a:cubicBezTo>
                    <a:pt x="114180" y="13326"/>
                    <a:pt x="115228" y="14374"/>
                    <a:pt x="115514" y="14659"/>
                  </a:cubicBezTo>
                  <a:cubicBezTo>
                    <a:pt x="116037" y="15217"/>
                    <a:pt x="116751" y="15557"/>
                    <a:pt x="117514" y="15612"/>
                  </a:cubicBezTo>
                  <a:cubicBezTo>
                    <a:pt x="118817" y="15751"/>
                    <a:pt x="120069" y="15068"/>
                    <a:pt x="120657" y="13897"/>
                  </a:cubicBezTo>
                  <a:cubicBezTo>
                    <a:pt x="120657" y="13135"/>
                    <a:pt x="122276" y="12754"/>
                    <a:pt x="122943" y="12373"/>
                  </a:cubicBezTo>
                  <a:cubicBezTo>
                    <a:pt x="124170" y="11861"/>
                    <a:pt x="125447" y="11477"/>
                    <a:pt x="126753" y="11230"/>
                  </a:cubicBezTo>
                  <a:cubicBezTo>
                    <a:pt x="128283" y="10838"/>
                    <a:pt x="129845" y="10583"/>
                    <a:pt x="131420" y="10468"/>
                  </a:cubicBezTo>
                  <a:cubicBezTo>
                    <a:pt x="133201" y="10202"/>
                    <a:pt x="135009" y="10724"/>
                    <a:pt x="136373" y="11897"/>
                  </a:cubicBezTo>
                  <a:lnTo>
                    <a:pt x="136373" y="12469"/>
                  </a:lnTo>
                  <a:cubicBezTo>
                    <a:pt x="136780" y="13203"/>
                    <a:pt x="137130" y="13967"/>
                    <a:pt x="137421" y="14755"/>
                  </a:cubicBezTo>
                  <a:cubicBezTo>
                    <a:pt x="137889" y="15965"/>
                    <a:pt x="138271" y="17206"/>
                    <a:pt x="138564" y="18469"/>
                  </a:cubicBezTo>
                  <a:cubicBezTo>
                    <a:pt x="139304" y="21591"/>
                    <a:pt x="139687" y="24786"/>
                    <a:pt x="139707" y="27994"/>
                  </a:cubicBezTo>
                  <a:lnTo>
                    <a:pt x="139707" y="29233"/>
                  </a:lnTo>
                  <a:cubicBezTo>
                    <a:pt x="139707" y="30947"/>
                    <a:pt x="139707" y="32852"/>
                    <a:pt x="139707" y="34948"/>
                  </a:cubicBezTo>
                  <a:cubicBezTo>
                    <a:pt x="139117" y="42582"/>
                    <a:pt x="139468" y="50260"/>
                    <a:pt x="140755" y="57808"/>
                  </a:cubicBezTo>
                  <a:cubicBezTo>
                    <a:pt x="141725" y="63875"/>
                    <a:pt x="143860" y="69697"/>
                    <a:pt x="147041" y="74953"/>
                  </a:cubicBezTo>
                  <a:cubicBezTo>
                    <a:pt x="147518" y="75810"/>
                    <a:pt x="147803" y="76667"/>
                    <a:pt x="148280" y="77334"/>
                  </a:cubicBezTo>
                  <a:lnTo>
                    <a:pt x="149899" y="79525"/>
                  </a:lnTo>
                  <a:cubicBezTo>
                    <a:pt x="147300" y="79450"/>
                    <a:pt x="144755" y="78765"/>
                    <a:pt x="142469" y="77524"/>
                  </a:cubicBezTo>
                  <a:cubicBezTo>
                    <a:pt x="141491" y="77106"/>
                    <a:pt x="140589" y="76526"/>
                    <a:pt x="139802" y="75810"/>
                  </a:cubicBezTo>
                  <a:cubicBezTo>
                    <a:pt x="139802" y="75810"/>
                    <a:pt x="139802" y="75810"/>
                    <a:pt x="139802" y="75810"/>
                  </a:cubicBezTo>
                  <a:cubicBezTo>
                    <a:pt x="139802" y="75810"/>
                    <a:pt x="139136" y="74095"/>
                    <a:pt x="138755" y="73143"/>
                  </a:cubicBezTo>
                  <a:cubicBezTo>
                    <a:pt x="137612" y="70190"/>
                    <a:pt x="136183" y="66856"/>
                    <a:pt x="135135" y="63618"/>
                  </a:cubicBezTo>
                  <a:cubicBezTo>
                    <a:pt x="133466" y="56418"/>
                    <a:pt x="132415" y="49089"/>
                    <a:pt x="131992" y="41710"/>
                  </a:cubicBezTo>
                  <a:cubicBezTo>
                    <a:pt x="132172" y="41105"/>
                    <a:pt x="131828" y="40469"/>
                    <a:pt x="131223" y="40289"/>
                  </a:cubicBezTo>
                  <a:cubicBezTo>
                    <a:pt x="130618" y="40108"/>
                    <a:pt x="129981" y="40452"/>
                    <a:pt x="129801" y="41057"/>
                  </a:cubicBezTo>
                  <a:cubicBezTo>
                    <a:pt x="129738" y="41270"/>
                    <a:pt x="129738" y="41497"/>
                    <a:pt x="129801" y="41710"/>
                  </a:cubicBezTo>
                  <a:cubicBezTo>
                    <a:pt x="130138" y="49260"/>
                    <a:pt x="131223" y="56758"/>
                    <a:pt x="133040" y="64094"/>
                  </a:cubicBezTo>
                  <a:cubicBezTo>
                    <a:pt x="134044" y="67343"/>
                    <a:pt x="135252" y="70524"/>
                    <a:pt x="136659" y="73619"/>
                  </a:cubicBezTo>
                  <a:cubicBezTo>
                    <a:pt x="136923" y="74206"/>
                    <a:pt x="137146" y="74811"/>
                    <a:pt x="137326" y="75429"/>
                  </a:cubicBezTo>
                  <a:cubicBezTo>
                    <a:pt x="137326" y="76286"/>
                    <a:pt x="137897" y="77048"/>
                    <a:pt x="138278" y="77810"/>
                  </a:cubicBezTo>
                  <a:cubicBezTo>
                    <a:pt x="138659" y="78572"/>
                    <a:pt x="139517" y="81525"/>
                    <a:pt x="139898" y="82858"/>
                  </a:cubicBezTo>
                  <a:cubicBezTo>
                    <a:pt x="136044" y="81944"/>
                    <a:pt x="132415" y="80260"/>
                    <a:pt x="129230" y="77905"/>
                  </a:cubicBezTo>
                  <a:cubicBezTo>
                    <a:pt x="128551" y="77311"/>
                    <a:pt x="127944" y="76640"/>
                    <a:pt x="127420" y="75905"/>
                  </a:cubicBezTo>
                  <a:lnTo>
                    <a:pt x="127420" y="75905"/>
                  </a:lnTo>
                  <a:cubicBezTo>
                    <a:pt x="126005" y="64245"/>
                    <a:pt x="125400" y="52501"/>
                    <a:pt x="125610" y="40758"/>
                  </a:cubicBezTo>
                  <a:cubicBezTo>
                    <a:pt x="125612" y="40127"/>
                    <a:pt x="125102" y="39613"/>
                    <a:pt x="124471" y="39611"/>
                  </a:cubicBezTo>
                  <a:cubicBezTo>
                    <a:pt x="124438" y="39611"/>
                    <a:pt x="124405" y="39612"/>
                    <a:pt x="124372" y="39615"/>
                  </a:cubicBezTo>
                  <a:cubicBezTo>
                    <a:pt x="123741" y="39615"/>
                    <a:pt x="123229" y="40127"/>
                    <a:pt x="123229" y="40758"/>
                  </a:cubicBezTo>
                  <a:cubicBezTo>
                    <a:pt x="123111" y="52500"/>
                    <a:pt x="123716" y="64238"/>
                    <a:pt x="125039" y="75905"/>
                  </a:cubicBezTo>
                  <a:cubicBezTo>
                    <a:pt x="125039" y="75905"/>
                    <a:pt x="125039" y="75905"/>
                    <a:pt x="125039" y="76477"/>
                  </a:cubicBezTo>
                  <a:lnTo>
                    <a:pt x="123705" y="78191"/>
                  </a:lnTo>
                  <a:cubicBezTo>
                    <a:pt x="123134" y="78858"/>
                    <a:pt x="122276" y="79810"/>
                    <a:pt x="120848" y="81239"/>
                  </a:cubicBezTo>
                  <a:lnTo>
                    <a:pt x="119419" y="82668"/>
                  </a:lnTo>
                  <a:lnTo>
                    <a:pt x="118562" y="82001"/>
                  </a:lnTo>
                  <a:cubicBezTo>
                    <a:pt x="117184" y="80875"/>
                    <a:pt x="115938" y="79597"/>
                    <a:pt x="114847" y="78191"/>
                  </a:cubicBezTo>
                  <a:lnTo>
                    <a:pt x="112942" y="75905"/>
                  </a:lnTo>
                  <a:lnTo>
                    <a:pt x="112942" y="75905"/>
                  </a:lnTo>
                  <a:cubicBezTo>
                    <a:pt x="118406" y="64790"/>
                    <a:pt x="120931" y="52460"/>
                    <a:pt x="120276" y="40091"/>
                  </a:cubicBezTo>
                  <a:cubicBezTo>
                    <a:pt x="120334" y="39440"/>
                    <a:pt x="119875" y="38856"/>
                    <a:pt x="119228" y="38758"/>
                  </a:cubicBezTo>
                  <a:cubicBezTo>
                    <a:pt x="118580" y="38756"/>
                    <a:pt x="118040" y="39254"/>
                    <a:pt x="117990" y="39901"/>
                  </a:cubicBezTo>
                  <a:cubicBezTo>
                    <a:pt x="117228" y="55617"/>
                    <a:pt x="116180" y="67618"/>
                    <a:pt x="110084" y="75905"/>
                  </a:cubicBezTo>
                  <a:cubicBezTo>
                    <a:pt x="109469" y="76710"/>
                    <a:pt x="108801" y="77474"/>
                    <a:pt x="108084" y="78191"/>
                  </a:cubicBezTo>
                  <a:cubicBezTo>
                    <a:pt x="106184" y="80129"/>
                    <a:pt x="104000" y="81767"/>
                    <a:pt x="101607" y="83049"/>
                  </a:cubicBezTo>
                  <a:cubicBezTo>
                    <a:pt x="101607" y="81620"/>
                    <a:pt x="102179" y="79906"/>
                    <a:pt x="102560" y="78096"/>
                  </a:cubicBezTo>
                  <a:cubicBezTo>
                    <a:pt x="102941" y="76286"/>
                    <a:pt x="102560" y="76572"/>
                    <a:pt x="103036" y="75715"/>
                  </a:cubicBezTo>
                  <a:cubicBezTo>
                    <a:pt x="103512" y="74857"/>
                    <a:pt x="103036" y="75715"/>
                    <a:pt x="103036" y="75048"/>
                  </a:cubicBezTo>
                  <a:cubicBezTo>
                    <a:pt x="109349" y="64778"/>
                    <a:pt x="113136" y="53157"/>
                    <a:pt x="114085" y="41139"/>
                  </a:cubicBezTo>
                  <a:cubicBezTo>
                    <a:pt x="114248" y="40529"/>
                    <a:pt x="113886" y="39902"/>
                    <a:pt x="113277" y="39739"/>
                  </a:cubicBezTo>
                  <a:cubicBezTo>
                    <a:pt x="113229" y="39726"/>
                    <a:pt x="113181" y="39717"/>
                    <a:pt x="113132" y="39710"/>
                  </a:cubicBezTo>
                  <a:cubicBezTo>
                    <a:pt x="112506" y="39729"/>
                    <a:pt x="111966" y="40154"/>
                    <a:pt x="111799" y="40758"/>
                  </a:cubicBezTo>
                  <a:cubicBezTo>
                    <a:pt x="108846" y="60951"/>
                    <a:pt x="104084" y="70762"/>
                    <a:pt x="99416" y="75619"/>
                  </a:cubicBezTo>
                  <a:cubicBezTo>
                    <a:pt x="98626" y="76489"/>
                    <a:pt x="97730" y="77257"/>
                    <a:pt x="96749" y="77905"/>
                  </a:cubicBezTo>
                  <a:cubicBezTo>
                    <a:pt x="95477" y="78886"/>
                    <a:pt x="94019" y="79599"/>
                    <a:pt x="92463" y="80001"/>
                  </a:cubicBezTo>
                  <a:cubicBezTo>
                    <a:pt x="91209" y="80328"/>
                    <a:pt x="89937" y="80583"/>
                    <a:pt x="88653" y="80763"/>
                  </a:cubicBezTo>
                  <a:cubicBezTo>
                    <a:pt x="89627" y="79522"/>
                    <a:pt x="90518" y="78217"/>
                    <a:pt x="91320" y="76858"/>
                  </a:cubicBezTo>
                  <a:close/>
                  <a:moveTo>
                    <a:pt x="75032" y="218780"/>
                  </a:moveTo>
                  <a:lnTo>
                    <a:pt x="79795" y="232306"/>
                  </a:lnTo>
                  <a:cubicBezTo>
                    <a:pt x="80001" y="232425"/>
                    <a:pt x="80255" y="232425"/>
                    <a:pt x="80462" y="232306"/>
                  </a:cubicBezTo>
                  <a:cubicBezTo>
                    <a:pt x="80462" y="232306"/>
                    <a:pt x="81033" y="232306"/>
                    <a:pt x="81319" y="232306"/>
                  </a:cubicBezTo>
                  <a:lnTo>
                    <a:pt x="89606" y="220876"/>
                  </a:lnTo>
                  <a:lnTo>
                    <a:pt x="93797" y="242021"/>
                  </a:lnTo>
                  <a:cubicBezTo>
                    <a:pt x="89606" y="248117"/>
                    <a:pt x="86081" y="253356"/>
                    <a:pt x="84272" y="255642"/>
                  </a:cubicBezTo>
                  <a:cubicBezTo>
                    <a:pt x="83510" y="253261"/>
                    <a:pt x="81890" y="248403"/>
                    <a:pt x="79319" y="241354"/>
                  </a:cubicBezTo>
                  <a:cubicBezTo>
                    <a:pt x="79172" y="241067"/>
                    <a:pt x="78939" y="240834"/>
                    <a:pt x="78652" y="240688"/>
                  </a:cubicBezTo>
                  <a:cubicBezTo>
                    <a:pt x="78652" y="240688"/>
                    <a:pt x="78080" y="240688"/>
                    <a:pt x="77795" y="240688"/>
                  </a:cubicBezTo>
                  <a:lnTo>
                    <a:pt x="68841" y="253927"/>
                  </a:lnTo>
                  <a:lnTo>
                    <a:pt x="62078" y="230782"/>
                  </a:lnTo>
                  <a:close/>
                  <a:moveTo>
                    <a:pt x="164948" y="272787"/>
                  </a:moveTo>
                  <a:lnTo>
                    <a:pt x="157805" y="263262"/>
                  </a:lnTo>
                  <a:cubicBezTo>
                    <a:pt x="157527" y="263168"/>
                    <a:pt x="157225" y="263168"/>
                    <a:pt x="156947" y="263262"/>
                  </a:cubicBezTo>
                  <a:cubicBezTo>
                    <a:pt x="156613" y="263258"/>
                    <a:pt x="156328" y="263503"/>
                    <a:pt x="156281" y="263833"/>
                  </a:cubicBezTo>
                  <a:lnTo>
                    <a:pt x="152090" y="274597"/>
                  </a:lnTo>
                  <a:cubicBezTo>
                    <a:pt x="149232" y="274597"/>
                    <a:pt x="146660" y="274597"/>
                    <a:pt x="144374" y="274597"/>
                  </a:cubicBezTo>
                  <a:lnTo>
                    <a:pt x="141612" y="261833"/>
                  </a:lnTo>
                  <a:lnTo>
                    <a:pt x="144946" y="244879"/>
                  </a:lnTo>
                  <a:cubicBezTo>
                    <a:pt x="154471" y="259071"/>
                    <a:pt x="154471" y="259071"/>
                    <a:pt x="155614" y="258785"/>
                  </a:cubicBezTo>
                  <a:cubicBezTo>
                    <a:pt x="155959" y="258696"/>
                    <a:pt x="156197" y="258380"/>
                    <a:pt x="156185" y="258023"/>
                  </a:cubicBezTo>
                  <a:cubicBezTo>
                    <a:pt x="156185" y="257166"/>
                    <a:pt x="158948" y="249546"/>
                    <a:pt x="161043" y="244021"/>
                  </a:cubicBezTo>
                  <a:lnTo>
                    <a:pt x="169711" y="256880"/>
                  </a:lnTo>
                  <a:close/>
                  <a:moveTo>
                    <a:pt x="171044" y="258118"/>
                  </a:moveTo>
                  <a:lnTo>
                    <a:pt x="179331" y="270406"/>
                  </a:lnTo>
                  <a:cubicBezTo>
                    <a:pt x="175187" y="271431"/>
                    <a:pt x="170990" y="272226"/>
                    <a:pt x="166758" y="272787"/>
                  </a:cubicBezTo>
                  <a:close/>
                  <a:moveTo>
                    <a:pt x="163139" y="273263"/>
                  </a:moveTo>
                  <a:cubicBezTo>
                    <a:pt x="159900" y="273263"/>
                    <a:pt x="156757" y="273835"/>
                    <a:pt x="153614" y="273930"/>
                  </a:cubicBezTo>
                  <a:lnTo>
                    <a:pt x="156947" y="265262"/>
                  </a:lnTo>
                  <a:close/>
                  <a:moveTo>
                    <a:pt x="128372" y="276216"/>
                  </a:moveTo>
                  <a:cubicBezTo>
                    <a:pt x="126145" y="276031"/>
                    <a:pt x="123971" y="276958"/>
                    <a:pt x="122562" y="278692"/>
                  </a:cubicBezTo>
                  <a:cubicBezTo>
                    <a:pt x="121915" y="279552"/>
                    <a:pt x="121519" y="280574"/>
                    <a:pt x="121419" y="281645"/>
                  </a:cubicBezTo>
                  <a:lnTo>
                    <a:pt x="117895" y="281645"/>
                  </a:lnTo>
                  <a:cubicBezTo>
                    <a:pt x="117823" y="280584"/>
                    <a:pt x="117460" y="279562"/>
                    <a:pt x="116847" y="278692"/>
                  </a:cubicBezTo>
                  <a:cubicBezTo>
                    <a:pt x="115419" y="276928"/>
                    <a:pt x="113201" y="275998"/>
                    <a:pt x="110942" y="276216"/>
                  </a:cubicBezTo>
                  <a:cubicBezTo>
                    <a:pt x="109823" y="274684"/>
                    <a:pt x="108073" y="273739"/>
                    <a:pt x="106179" y="273644"/>
                  </a:cubicBezTo>
                  <a:cubicBezTo>
                    <a:pt x="104373" y="273494"/>
                    <a:pt x="102557" y="273494"/>
                    <a:pt x="100750" y="273644"/>
                  </a:cubicBezTo>
                  <a:cubicBezTo>
                    <a:pt x="99607" y="273644"/>
                    <a:pt x="98273" y="273644"/>
                    <a:pt x="96749" y="273644"/>
                  </a:cubicBezTo>
                  <a:lnTo>
                    <a:pt x="98750" y="264119"/>
                  </a:lnTo>
                  <a:lnTo>
                    <a:pt x="102845" y="270406"/>
                  </a:lnTo>
                  <a:cubicBezTo>
                    <a:pt x="103035" y="270721"/>
                    <a:pt x="103445" y="270823"/>
                    <a:pt x="103760" y="270634"/>
                  </a:cubicBezTo>
                  <a:cubicBezTo>
                    <a:pt x="103854" y="270577"/>
                    <a:pt x="103932" y="270499"/>
                    <a:pt x="103988" y="270406"/>
                  </a:cubicBezTo>
                  <a:lnTo>
                    <a:pt x="110465" y="264595"/>
                  </a:lnTo>
                  <a:lnTo>
                    <a:pt x="115514" y="225448"/>
                  </a:lnTo>
                  <a:lnTo>
                    <a:pt x="113037" y="264881"/>
                  </a:lnTo>
                  <a:cubicBezTo>
                    <a:pt x="113037" y="264881"/>
                    <a:pt x="113037" y="264881"/>
                    <a:pt x="113037" y="265453"/>
                  </a:cubicBezTo>
                  <a:lnTo>
                    <a:pt x="118657" y="272025"/>
                  </a:lnTo>
                  <a:cubicBezTo>
                    <a:pt x="118984" y="272367"/>
                    <a:pt x="119527" y="272379"/>
                    <a:pt x="119869" y="272051"/>
                  </a:cubicBezTo>
                  <a:cubicBezTo>
                    <a:pt x="119878" y="272043"/>
                    <a:pt x="119887" y="272034"/>
                    <a:pt x="119895" y="272025"/>
                  </a:cubicBezTo>
                  <a:lnTo>
                    <a:pt x="125515" y="265453"/>
                  </a:lnTo>
                  <a:cubicBezTo>
                    <a:pt x="125515" y="265453"/>
                    <a:pt x="125515" y="265453"/>
                    <a:pt x="125515" y="264881"/>
                  </a:cubicBezTo>
                  <a:lnTo>
                    <a:pt x="123038" y="225448"/>
                  </a:lnTo>
                  <a:lnTo>
                    <a:pt x="127991" y="264595"/>
                  </a:lnTo>
                  <a:cubicBezTo>
                    <a:pt x="127991" y="264595"/>
                    <a:pt x="127991" y="264595"/>
                    <a:pt x="127991" y="264595"/>
                  </a:cubicBezTo>
                  <a:lnTo>
                    <a:pt x="134468" y="270406"/>
                  </a:lnTo>
                  <a:cubicBezTo>
                    <a:pt x="134658" y="270721"/>
                    <a:pt x="135068" y="270823"/>
                    <a:pt x="135383" y="270634"/>
                  </a:cubicBezTo>
                  <a:cubicBezTo>
                    <a:pt x="135477" y="270577"/>
                    <a:pt x="135555" y="270499"/>
                    <a:pt x="135611" y="270406"/>
                  </a:cubicBezTo>
                  <a:lnTo>
                    <a:pt x="139612" y="264119"/>
                  </a:lnTo>
                  <a:lnTo>
                    <a:pt x="141517" y="273644"/>
                  </a:lnTo>
                  <a:cubicBezTo>
                    <a:pt x="140183" y="273644"/>
                    <a:pt x="138850" y="273644"/>
                    <a:pt x="137612" y="273644"/>
                  </a:cubicBezTo>
                  <a:cubicBezTo>
                    <a:pt x="135837" y="273494"/>
                    <a:pt x="134053" y="273494"/>
                    <a:pt x="132278" y="273644"/>
                  </a:cubicBezTo>
                  <a:cubicBezTo>
                    <a:pt x="130653" y="274106"/>
                    <a:pt x="129260" y="275159"/>
                    <a:pt x="128372" y="276597"/>
                  </a:cubicBezTo>
                  <a:close/>
                  <a:moveTo>
                    <a:pt x="129420" y="281836"/>
                  </a:moveTo>
                  <a:lnTo>
                    <a:pt x="129420" y="281836"/>
                  </a:lnTo>
                  <a:cubicBezTo>
                    <a:pt x="129553" y="282156"/>
                    <a:pt x="129747" y="282447"/>
                    <a:pt x="129992" y="282693"/>
                  </a:cubicBezTo>
                  <a:cubicBezTo>
                    <a:pt x="130338" y="283335"/>
                    <a:pt x="130826" y="283889"/>
                    <a:pt x="131420" y="284312"/>
                  </a:cubicBezTo>
                  <a:cubicBezTo>
                    <a:pt x="131420" y="284312"/>
                    <a:pt x="131420" y="284312"/>
                    <a:pt x="131420" y="284884"/>
                  </a:cubicBezTo>
                  <a:cubicBezTo>
                    <a:pt x="131420" y="285455"/>
                    <a:pt x="129801" y="286884"/>
                    <a:pt x="128468" y="287741"/>
                  </a:cubicBezTo>
                  <a:cubicBezTo>
                    <a:pt x="127989" y="287970"/>
                    <a:pt x="127541" y="288258"/>
                    <a:pt x="127134" y="288598"/>
                  </a:cubicBezTo>
                  <a:cubicBezTo>
                    <a:pt x="126162" y="289130"/>
                    <a:pt x="125393" y="289967"/>
                    <a:pt x="124943" y="290980"/>
                  </a:cubicBezTo>
                  <a:cubicBezTo>
                    <a:pt x="124227" y="288959"/>
                    <a:pt x="123655" y="286890"/>
                    <a:pt x="123229" y="284788"/>
                  </a:cubicBezTo>
                  <a:cubicBezTo>
                    <a:pt x="123133" y="283743"/>
                    <a:pt x="123133" y="282691"/>
                    <a:pt x="123229" y="281645"/>
                  </a:cubicBezTo>
                  <a:cubicBezTo>
                    <a:pt x="123316" y="280938"/>
                    <a:pt x="123614" y="280274"/>
                    <a:pt x="124086" y="279740"/>
                  </a:cubicBezTo>
                  <a:cubicBezTo>
                    <a:pt x="124975" y="278539"/>
                    <a:pt x="126404" y="277860"/>
                    <a:pt x="127896" y="277930"/>
                  </a:cubicBezTo>
                  <a:cubicBezTo>
                    <a:pt x="127720" y="278770"/>
                    <a:pt x="127929" y="279644"/>
                    <a:pt x="128468" y="280312"/>
                  </a:cubicBezTo>
                  <a:close/>
                  <a:moveTo>
                    <a:pt x="116561" y="285455"/>
                  </a:moveTo>
                  <a:cubicBezTo>
                    <a:pt x="116136" y="287557"/>
                    <a:pt x="115563" y="289625"/>
                    <a:pt x="114847" y="291646"/>
                  </a:cubicBezTo>
                  <a:cubicBezTo>
                    <a:pt x="114356" y="290631"/>
                    <a:pt x="113556" y="289797"/>
                    <a:pt x="112561" y="289265"/>
                  </a:cubicBezTo>
                  <a:cubicBezTo>
                    <a:pt x="112154" y="288925"/>
                    <a:pt x="111706" y="288637"/>
                    <a:pt x="111227" y="288408"/>
                  </a:cubicBezTo>
                  <a:cubicBezTo>
                    <a:pt x="109894" y="287551"/>
                    <a:pt x="108656" y="286884"/>
                    <a:pt x="108275" y="285550"/>
                  </a:cubicBezTo>
                  <a:cubicBezTo>
                    <a:pt x="108230" y="285363"/>
                    <a:pt x="108230" y="285167"/>
                    <a:pt x="108275" y="284979"/>
                  </a:cubicBezTo>
                  <a:cubicBezTo>
                    <a:pt x="108845" y="284530"/>
                    <a:pt x="109329" y="283981"/>
                    <a:pt x="109703" y="283360"/>
                  </a:cubicBezTo>
                  <a:cubicBezTo>
                    <a:pt x="109948" y="283114"/>
                    <a:pt x="110142" y="282823"/>
                    <a:pt x="110275" y="282503"/>
                  </a:cubicBezTo>
                  <a:lnTo>
                    <a:pt x="110275" y="282502"/>
                  </a:lnTo>
                  <a:cubicBezTo>
                    <a:pt x="110275" y="281931"/>
                    <a:pt x="110846" y="281455"/>
                    <a:pt x="111227" y="280978"/>
                  </a:cubicBezTo>
                  <a:cubicBezTo>
                    <a:pt x="111799" y="280327"/>
                    <a:pt x="112045" y="279451"/>
                    <a:pt x="111894" y="278597"/>
                  </a:cubicBezTo>
                  <a:cubicBezTo>
                    <a:pt x="113380" y="278559"/>
                    <a:pt x="114795" y="279231"/>
                    <a:pt x="115704" y="280407"/>
                  </a:cubicBezTo>
                  <a:cubicBezTo>
                    <a:pt x="116099" y="280987"/>
                    <a:pt x="116389" y="281632"/>
                    <a:pt x="116561" y="282312"/>
                  </a:cubicBezTo>
                  <a:cubicBezTo>
                    <a:pt x="116657" y="283357"/>
                    <a:pt x="116657" y="284410"/>
                    <a:pt x="116561" y="285455"/>
                  </a:cubicBezTo>
                  <a:close/>
                  <a:moveTo>
                    <a:pt x="83414" y="263548"/>
                  </a:moveTo>
                  <a:cubicBezTo>
                    <a:pt x="83367" y="263217"/>
                    <a:pt x="83082" y="262973"/>
                    <a:pt x="82748" y="262976"/>
                  </a:cubicBezTo>
                  <a:cubicBezTo>
                    <a:pt x="82473" y="262865"/>
                    <a:pt x="82165" y="262865"/>
                    <a:pt x="81890" y="262976"/>
                  </a:cubicBezTo>
                  <a:lnTo>
                    <a:pt x="74747" y="272501"/>
                  </a:lnTo>
                  <a:lnTo>
                    <a:pt x="70270" y="256880"/>
                  </a:lnTo>
                  <a:lnTo>
                    <a:pt x="79128" y="243926"/>
                  </a:lnTo>
                  <a:cubicBezTo>
                    <a:pt x="81128" y="249451"/>
                    <a:pt x="83795" y="257071"/>
                    <a:pt x="83891" y="257928"/>
                  </a:cubicBezTo>
                  <a:cubicBezTo>
                    <a:pt x="83948" y="258289"/>
                    <a:pt x="84207" y="258585"/>
                    <a:pt x="84557" y="258690"/>
                  </a:cubicBezTo>
                  <a:cubicBezTo>
                    <a:pt x="85224" y="258690"/>
                    <a:pt x="85415" y="258690"/>
                    <a:pt x="95225" y="244783"/>
                  </a:cubicBezTo>
                  <a:lnTo>
                    <a:pt x="98559" y="261738"/>
                  </a:lnTo>
                  <a:lnTo>
                    <a:pt x="95797" y="274501"/>
                  </a:lnTo>
                  <a:cubicBezTo>
                    <a:pt x="93511" y="274501"/>
                    <a:pt x="90844" y="274501"/>
                    <a:pt x="88082" y="274501"/>
                  </a:cubicBezTo>
                  <a:close/>
                  <a:moveTo>
                    <a:pt x="85700" y="274311"/>
                  </a:moveTo>
                  <a:cubicBezTo>
                    <a:pt x="82938" y="274311"/>
                    <a:pt x="79700" y="274311"/>
                    <a:pt x="76175" y="273644"/>
                  </a:cubicBezTo>
                  <a:lnTo>
                    <a:pt x="82081" y="265643"/>
                  </a:lnTo>
                  <a:close/>
                  <a:moveTo>
                    <a:pt x="72937" y="273168"/>
                  </a:moveTo>
                  <a:cubicBezTo>
                    <a:pt x="68833" y="272594"/>
                    <a:pt x="64763" y="271799"/>
                    <a:pt x="60745" y="270787"/>
                  </a:cubicBezTo>
                  <a:lnTo>
                    <a:pt x="69032" y="258499"/>
                  </a:lnTo>
                  <a:close/>
                  <a:moveTo>
                    <a:pt x="95987" y="242593"/>
                  </a:moveTo>
                  <a:lnTo>
                    <a:pt x="95987" y="242593"/>
                  </a:lnTo>
                  <a:cubicBezTo>
                    <a:pt x="99226" y="237925"/>
                    <a:pt x="102464" y="233068"/>
                    <a:pt x="104560" y="230210"/>
                  </a:cubicBezTo>
                  <a:lnTo>
                    <a:pt x="98845" y="256880"/>
                  </a:lnTo>
                  <a:close/>
                  <a:moveTo>
                    <a:pt x="104750" y="198206"/>
                  </a:moveTo>
                  <a:cubicBezTo>
                    <a:pt x="106560" y="200016"/>
                    <a:pt x="108465" y="201921"/>
                    <a:pt x="110370" y="203635"/>
                  </a:cubicBezTo>
                  <a:lnTo>
                    <a:pt x="106370" y="222685"/>
                  </a:lnTo>
                  <a:lnTo>
                    <a:pt x="100369" y="203635"/>
                  </a:lnTo>
                  <a:close/>
                  <a:moveTo>
                    <a:pt x="91987" y="211065"/>
                  </a:moveTo>
                  <a:lnTo>
                    <a:pt x="90653" y="198492"/>
                  </a:lnTo>
                  <a:cubicBezTo>
                    <a:pt x="93416" y="195920"/>
                    <a:pt x="95987" y="193634"/>
                    <a:pt x="98559" y="191443"/>
                  </a:cubicBezTo>
                  <a:cubicBezTo>
                    <a:pt x="100178" y="193253"/>
                    <a:pt x="101798" y="195158"/>
                    <a:pt x="103512" y="196873"/>
                  </a:cubicBezTo>
                  <a:close/>
                  <a:moveTo>
                    <a:pt x="139612" y="203635"/>
                  </a:moveTo>
                  <a:lnTo>
                    <a:pt x="133611" y="222685"/>
                  </a:lnTo>
                  <a:lnTo>
                    <a:pt x="129611" y="203635"/>
                  </a:lnTo>
                  <a:cubicBezTo>
                    <a:pt x="131516" y="201921"/>
                    <a:pt x="133421" y="200016"/>
                    <a:pt x="135135" y="198206"/>
                  </a:cubicBezTo>
                  <a:close/>
                  <a:moveTo>
                    <a:pt x="136373" y="196968"/>
                  </a:moveTo>
                  <a:cubicBezTo>
                    <a:pt x="138183" y="195158"/>
                    <a:pt x="139802" y="193253"/>
                    <a:pt x="141422" y="191443"/>
                  </a:cubicBezTo>
                  <a:lnTo>
                    <a:pt x="149327" y="198492"/>
                  </a:lnTo>
                  <a:lnTo>
                    <a:pt x="147994" y="211065"/>
                  </a:lnTo>
                  <a:close/>
                  <a:moveTo>
                    <a:pt x="135135" y="229924"/>
                  </a:moveTo>
                  <a:cubicBezTo>
                    <a:pt x="137231" y="233068"/>
                    <a:pt x="140469" y="237640"/>
                    <a:pt x="143708" y="242307"/>
                  </a:cubicBezTo>
                  <a:cubicBezTo>
                    <a:pt x="143708" y="242307"/>
                    <a:pt x="143708" y="242307"/>
                    <a:pt x="143708" y="242307"/>
                  </a:cubicBezTo>
                  <a:lnTo>
                    <a:pt x="140660" y="256880"/>
                  </a:lnTo>
                  <a:close/>
                  <a:moveTo>
                    <a:pt x="144660" y="240307"/>
                  </a:moveTo>
                  <a:cubicBezTo>
                    <a:pt x="141231" y="235354"/>
                    <a:pt x="137707" y="230115"/>
                    <a:pt x="134564" y="225733"/>
                  </a:cubicBezTo>
                  <a:lnTo>
                    <a:pt x="141326" y="205159"/>
                  </a:lnTo>
                  <a:lnTo>
                    <a:pt x="148280" y="213732"/>
                  </a:lnTo>
                  <a:cubicBezTo>
                    <a:pt x="148549" y="213868"/>
                    <a:pt x="148867" y="213868"/>
                    <a:pt x="149137" y="213732"/>
                  </a:cubicBezTo>
                  <a:cubicBezTo>
                    <a:pt x="149445" y="213616"/>
                    <a:pt x="149688" y="213373"/>
                    <a:pt x="149804" y="213065"/>
                  </a:cubicBezTo>
                  <a:lnTo>
                    <a:pt x="151137" y="199730"/>
                  </a:lnTo>
                  <a:cubicBezTo>
                    <a:pt x="156757" y="204778"/>
                    <a:pt x="162853" y="210303"/>
                    <a:pt x="169139" y="215827"/>
                  </a:cubicBezTo>
                  <a:cubicBezTo>
                    <a:pt x="169823" y="216543"/>
                    <a:pt x="170555" y="217211"/>
                    <a:pt x="171330" y="217828"/>
                  </a:cubicBezTo>
                  <a:lnTo>
                    <a:pt x="173426" y="219637"/>
                  </a:lnTo>
                  <a:lnTo>
                    <a:pt x="174092" y="220304"/>
                  </a:lnTo>
                  <a:lnTo>
                    <a:pt x="175140" y="221161"/>
                  </a:lnTo>
                  <a:lnTo>
                    <a:pt x="177045" y="228115"/>
                  </a:lnTo>
                  <a:lnTo>
                    <a:pt x="165425" y="216875"/>
                  </a:lnTo>
                  <a:cubicBezTo>
                    <a:pt x="165196" y="216716"/>
                    <a:pt x="164892" y="216716"/>
                    <a:pt x="164663" y="216875"/>
                  </a:cubicBezTo>
                  <a:cubicBezTo>
                    <a:pt x="164663" y="216875"/>
                    <a:pt x="164186" y="216875"/>
                    <a:pt x="163996" y="217351"/>
                  </a:cubicBezTo>
                  <a:lnTo>
                    <a:pt x="159043" y="230401"/>
                  </a:lnTo>
                  <a:lnTo>
                    <a:pt x="149804" y="218780"/>
                  </a:lnTo>
                  <a:cubicBezTo>
                    <a:pt x="149587" y="218586"/>
                    <a:pt x="149259" y="218586"/>
                    <a:pt x="149042" y="218780"/>
                  </a:cubicBezTo>
                  <a:cubicBezTo>
                    <a:pt x="148690" y="218857"/>
                    <a:pt x="148402" y="219109"/>
                    <a:pt x="148280" y="219447"/>
                  </a:cubicBezTo>
                  <a:close/>
                  <a:moveTo>
                    <a:pt x="173235" y="216208"/>
                  </a:moveTo>
                  <a:lnTo>
                    <a:pt x="171140" y="214303"/>
                  </a:lnTo>
                  <a:lnTo>
                    <a:pt x="170187" y="213541"/>
                  </a:lnTo>
                  <a:lnTo>
                    <a:pt x="167425" y="145057"/>
                  </a:lnTo>
                  <a:cubicBezTo>
                    <a:pt x="169127" y="139137"/>
                    <a:pt x="170494" y="133127"/>
                    <a:pt x="171521" y="127054"/>
                  </a:cubicBezTo>
                  <a:lnTo>
                    <a:pt x="175235" y="218113"/>
                  </a:lnTo>
                  <a:cubicBezTo>
                    <a:pt x="174195" y="217571"/>
                    <a:pt x="173206" y="216933"/>
                    <a:pt x="172283" y="216208"/>
                  </a:cubicBezTo>
                  <a:close/>
                  <a:moveTo>
                    <a:pt x="167234" y="140008"/>
                  </a:moveTo>
                  <a:cubicBezTo>
                    <a:pt x="162091" y="158635"/>
                    <a:pt x="152702" y="175817"/>
                    <a:pt x="139802" y="190205"/>
                  </a:cubicBezTo>
                  <a:cubicBezTo>
                    <a:pt x="136104" y="194525"/>
                    <a:pt x="132127" y="198598"/>
                    <a:pt x="127896" y="202397"/>
                  </a:cubicBezTo>
                  <a:lnTo>
                    <a:pt x="127896" y="202397"/>
                  </a:lnTo>
                  <a:cubicBezTo>
                    <a:pt x="127618" y="202696"/>
                    <a:pt x="127297" y="202953"/>
                    <a:pt x="126944" y="203159"/>
                  </a:cubicBezTo>
                  <a:lnTo>
                    <a:pt x="126086" y="204016"/>
                  </a:lnTo>
                  <a:lnTo>
                    <a:pt x="124277" y="205540"/>
                  </a:lnTo>
                  <a:lnTo>
                    <a:pt x="119800" y="209255"/>
                  </a:lnTo>
                  <a:cubicBezTo>
                    <a:pt x="118276" y="207922"/>
                    <a:pt x="116752" y="206779"/>
                    <a:pt x="115418" y="205540"/>
                  </a:cubicBezTo>
                  <a:lnTo>
                    <a:pt x="113609" y="204016"/>
                  </a:lnTo>
                  <a:cubicBezTo>
                    <a:pt x="113609" y="204016"/>
                    <a:pt x="113037" y="204016"/>
                    <a:pt x="112751" y="203159"/>
                  </a:cubicBezTo>
                  <a:cubicBezTo>
                    <a:pt x="112398" y="202953"/>
                    <a:pt x="112078" y="202696"/>
                    <a:pt x="111799" y="202397"/>
                  </a:cubicBezTo>
                  <a:lnTo>
                    <a:pt x="111799" y="202397"/>
                  </a:lnTo>
                  <a:cubicBezTo>
                    <a:pt x="107566" y="198600"/>
                    <a:pt x="103588" y="194527"/>
                    <a:pt x="99893" y="190205"/>
                  </a:cubicBezTo>
                  <a:cubicBezTo>
                    <a:pt x="87259" y="175558"/>
                    <a:pt x="78195" y="158180"/>
                    <a:pt x="73413" y="139437"/>
                  </a:cubicBezTo>
                  <a:cubicBezTo>
                    <a:pt x="71451" y="131658"/>
                    <a:pt x="70176" y="123722"/>
                    <a:pt x="69603" y="115720"/>
                  </a:cubicBezTo>
                  <a:lnTo>
                    <a:pt x="69603" y="105147"/>
                  </a:lnTo>
                  <a:cubicBezTo>
                    <a:pt x="86784" y="105388"/>
                    <a:pt x="103663" y="100622"/>
                    <a:pt x="118181" y="91431"/>
                  </a:cubicBezTo>
                  <a:cubicBezTo>
                    <a:pt x="118590" y="91185"/>
                    <a:pt x="118973" y="90897"/>
                    <a:pt x="119324" y="90574"/>
                  </a:cubicBezTo>
                  <a:lnTo>
                    <a:pt x="120467" y="91431"/>
                  </a:lnTo>
                  <a:cubicBezTo>
                    <a:pt x="135023" y="100615"/>
                    <a:pt x="151930" y="105379"/>
                    <a:pt x="169139" y="105147"/>
                  </a:cubicBezTo>
                  <a:lnTo>
                    <a:pt x="169139" y="115720"/>
                  </a:lnTo>
                  <a:cubicBezTo>
                    <a:pt x="168839" y="123722"/>
                    <a:pt x="167883" y="131686"/>
                    <a:pt x="166282" y="139532"/>
                  </a:cubicBezTo>
                  <a:close/>
                  <a:moveTo>
                    <a:pt x="74175" y="145533"/>
                  </a:moveTo>
                  <a:lnTo>
                    <a:pt x="70270" y="213541"/>
                  </a:lnTo>
                  <a:lnTo>
                    <a:pt x="69508" y="214303"/>
                  </a:lnTo>
                  <a:lnTo>
                    <a:pt x="67412" y="216208"/>
                  </a:lnTo>
                  <a:lnTo>
                    <a:pt x="65412" y="218113"/>
                  </a:lnTo>
                  <a:lnTo>
                    <a:pt x="69127" y="127054"/>
                  </a:lnTo>
                  <a:cubicBezTo>
                    <a:pt x="70108" y="133136"/>
                    <a:pt x="71476" y="139149"/>
                    <a:pt x="73223" y="145057"/>
                  </a:cubicBezTo>
                  <a:close/>
                  <a:moveTo>
                    <a:pt x="66936" y="220971"/>
                  </a:moveTo>
                  <a:lnTo>
                    <a:pt x="67793" y="220304"/>
                  </a:lnTo>
                  <a:lnTo>
                    <a:pt x="69889" y="218494"/>
                  </a:lnTo>
                  <a:lnTo>
                    <a:pt x="71984" y="216494"/>
                  </a:lnTo>
                  <a:lnTo>
                    <a:pt x="89320" y="199730"/>
                  </a:lnTo>
                  <a:lnTo>
                    <a:pt x="90749" y="213065"/>
                  </a:lnTo>
                  <a:cubicBezTo>
                    <a:pt x="90745" y="213399"/>
                    <a:pt x="90990" y="213684"/>
                    <a:pt x="91320" y="213732"/>
                  </a:cubicBezTo>
                  <a:cubicBezTo>
                    <a:pt x="91623" y="213870"/>
                    <a:pt x="91970" y="213870"/>
                    <a:pt x="92273" y="213732"/>
                  </a:cubicBezTo>
                  <a:lnTo>
                    <a:pt x="99226" y="205159"/>
                  </a:lnTo>
                  <a:lnTo>
                    <a:pt x="105893" y="225733"/>
                  </a:lnTo>
                  <a:lnTo>
                    <a:pt x="95892" y="240307"/>
                  </a:lnTo>
                  <a:lnTo>
                    <a:pt x="91320" y="218780"/>
                  </a:lnTo>
                  <a:cubicBezTo>
                    <a:pt x="91279" y="218431"/>
                    <a:pt x="91003" y="218155"/>
                    <a:pt x="90653" y="218113"/>
                  </a:cubicBezTo>
                  <a:cubicBezTo>
                    <a:pt x="90436" y="217919"/>
                    <a:pt x="90108" y="217919"/>
                    <a:pt x="89891" y="218113"/>
                  </a:cubicBezTo>
                  <a:lnTo>
                    <a:pt x="81224" y="229829"/>
                  </a:lnTo>
                  <a:lnTo>
                    <a:pt x="76175" y="216780"/>
                  </a:lnTo>
                  <a:cubicBezTo>
                    <a:pt x="76175" y="216780"/>
                    <a:pt x="76175" y="216304"/>
                    <a:pt x="75604" y="216304"/>
                  </a:cubicBezTo>
                  <a:cubicBezTo>
                    <a:pt x="75375" y="216144"/>
                    <a:pt x="75071" y="216144"/>
                    <a:pt x="74842" y="216304"/>
                  </a:cubicBezTo>
                  <a:lnTo>
                    <a:pt x="63126" y="228305"/>
                  </a:lnTo>
                  <a:lnTo>
                    <a:pt x="65126" y="221352"/>
                  </a:lnTo>
                  <a:cubicBezTo>
                    <a:pt x="65126" y="221352"/>
                    <a:pt x="65793" y="220876"/>
                    <a:pt x="65984" y="220495"/>
                  </a:cubicBezTo>
                  <a:close/>
                  <a:moveTo>
                    <a:pt x="62459" y="234782"/>
                  </a:moveTo>
                  <a:lnTo>
                    <a:pt x="68936" y="256785"/>
                  </a:lnTo>
                  <a:lnTo>
                    <a:pt x="59411" y="270787"/>
                  </a:lnTo>
                  <a:cubicBezTo>
                    <a:pt x="57125" y="270215"/>
                    <a:pt x="54935" y="269644"/>
                    <a:pt x="52649" y="268882"/>
                  </a:cubicBezTo>
                  <a:close/>
                  <a:moveTo>
                    <a:pt x="39790" y="267929"/>
                  </a:moveTo>
                  <a:lnTo>
                    <a:pt x="39790" y="267929"/>
                  </a:lnTo>
                  <a:lnTo>
                    <a:pt x="39790" y="267929"/>
                  </a:lnTo>
                  <a:cubicBezTo>
                    <a:pt x="40772" y="267404"/>
                    <a:pt x="41951" y="267404"/>
                    <a:pt x="42933" y="267929"/>
                  </a:cubicBezTo>
                  <a:cubicBezTo>
                    <a:pt x="45029" y="268882"/>
                    <a:pt x="47219" y="269548"/>
                    <a:pt x="49315" y="270310"/>
                  </a:cubicBezTo>
                  <a:cubicBezTo>
                    <a:pt x="56939" y="272869"/>
                    <a:pt x="64783" y="274718"/>
                    <a:pt x="72746" y="275835"/>
                  </a:cubicBezTo>
                  <a:lnTo>
                    <a:pt x="82271" y="276692"/>
                  </a:lnTo>
                  <a:lnTo>
                    <a:pt x="85986" y="276692"/>
                  </a:lnTo>
                  <a:lnTo>
                    <a:pt x="96273" y="276692"/>
                  </a:lnTo>
                  <a:lnTo>
                    <a:pt x="100655" y="276692"/>
                  </a:lnTo>
                  <a:cubicBezTo>
                    <a:pt x="102335" y="276572"/>
                    <a:pt x="104022" y="276572"/>
                    <a:pt x="105703" y="276692"/>
                  </a:cubicBezTo>
                  <a:cubicBezTo>
                    <a:pt x="107312" y="276730"/>
                    <a:pt x="108788" y="277594"/>
                    <a:pt x="109608" y="278978"/>
                  </a:cubicBezTo>
                  <a:cubicBezTo>
                    <a:pt x="109863" y="279488"/>
                    <a:pt x="109863" y="280088"/>
                    <a:pt x="109608" y="280597"/>
                  </a:cubicBezTo>
                  <a:cubicBezTo>
                    <a:pt x="109074" y="281129"/>
                    <a:pt x="108625" y="281740"/>
                    <a:pt x="108275" y="282407"/>
                  </a:cubicBezTo>
                  <a:lnTo>
                    <a:pt x="107703" y="283264"/>
                  </a:lnTo>
                  <a:lnTo>
                    <a:pt x="107703" y="283264"/>
                  </a:lnTo>
                  <a:cubicBezTo>
                    <a:pt x="107382" y="283793"/>
                    <a:pt x="106920" y="284222"/>
                    <a:pt x="106370" y="284503"/>
                  </a:cubicBezTo>
                  <a:cubicBezTo>
                    <a:pt x="105597" y="285014"/>
                    <a:pt x="104717" y="285340"/>
                    <a:pt x="103798" y="285455"/>
                  </a:cubicBezTo>
                  <a:cubicBezTo>
                    <a:pt x="98976" y="285746"/>
                    <a:pt x="94142" y="285746"/>
                    <a:pt x="89320" y="285455"/>
                  </a:cubicBezTo>
                  <a:cubicBezTo>
                    <a:pt x="85510" y="285455"/>
                    <a:pt x="81509" y="285455"/>
                    <a:pt x="77318" y="284598"/>
                  </a:cubicBezTo>
                  <a:lnTo>
                    <a:pt x="77318" y="284598"/>
                  </a:lnTo>
                  <a:cubicBezTo>
                    <a:pt x="77501" y="283590"/>
                    <a:pt x="77501" y="282558"/>
                    <a:pt x="77318" y="281550"/>
                  </a:cubicBezTo>
                  <a:cubicBezTo>
                    <a:pt x="76931" y="279738"/>
                    <a:pt x="75920" y="278120"/>
                    <a:pt x="74461" y="276978"/>
                  </a:cubicBezTo>
                  <a:lnTo>
                    <a:pt x="73985" y="276978"/>
                  </a:lnTo>
                  <a:cubicBezTo>
                    <a:pt x="73471" y="276610"/>
                    <a:pt x="72887" y="276351"/>
                    <a:pt x="72270" y="276216"/>
                  </a:cubicBezTo>
                  <a:lnTo>
                    <a:pt x="72270" y="276216"/>
                  </a:lnTo>
                  <a:cubicBezTo>
                    <a:pt x="71827" y="276171"/>
                    <a:pt x="71380" y="276171"/>
                    <a:pt x="70937" y="276216"/>
                  </a:cubicBezTo>
                  <a:lnTo>
                    <a:pt x="70937" y="276216"/>
                  </a:lnTo>
                  <a:cubicBezTo>
                    <a:pt x="69101" y="276755"/>
                    <a:pt x="67665" y="278190"/>
                    <a:pt x="67127" y="280026"/>
                  </a:cubicBezTo>
                  <a:cubicBezTo>
                    <a:pt x="67089" y="280247"/>
                    <a:pt x="67089" y="280472"/>
                    <a:pt x="67127" y="280693"/>
                  </a:cubicBezTo>
                  <a:cubicBezTo>
                    <a:pt x="67039" y="281484"/>
                    <a:pt x="67039" y="282283"/>
                    <a:pt x="67127" y="283074"/>
                  </a:cubicBezTo>
                  <a:lnTo>
                    <a:pt x="67127" y="283074"/>
                  </a:lnTo>
                  <a:lnTo>
                    <a:pt x="57602" y="281264"/>
                  </a:lnTo>
                  <a:cubicBezTo>
                    <a:pt x="51788" y="280138"/>
                    <a:pt x="46059" y="278610"/>
                    <a:pt x="40457" y="276692"/>
                  </a:cubicBezTo>
                  <a:cubicBezTo>
                    <a:pt x="40457" y="276692"/>
                    <a:pt x="40457" y="276692"/>
                    <a:pt x="40457" y="276216"/>
                  </a:cubicBezTo>
                  <a:lnTo>
                    <a:pt x="40457" y="276216"/>
                  </a:lnTo>
                  <a:cubicBezTo>
                    <a:pt x="40457" y="275644"/>
                    <a:pt x="40457" y="274882"/>
                    <a:pt x="40457" y="274025"/>
                  </a:cubicBezTo>
                  <a:cubicBezTo>
                    <a:pt x="40457" y="273168"/>
                    <a:pt x="40457" y="271549"/>
                    <a:pt x="40457" y="270406"/>
                  </a:cubicBezTo>
                  <a:cubicBezTo>
                    <a:pt x="39749" y="269794"/>
                    <a:pt x="39485" y="268813"/>
                    <a:pt x="39790" y="267929"/>
                  </a:cubicBezTo>
                  <a:close/>
                  <a:moveTo>
                    <a:pt x="76175" y="283455"/>
                  </a:moveTo>
                  <a:cubicBezTo>
                    <a:pt x="75932" y="284321"/>
                    <a:pt x="75580" y="285153"/>
                    <a:pt x="75128" y="285931"/>
                  </a:cubicBezTo>
                  <a:lnTo>
                    <a:pt x="75128" y="285931"/>
                  </a:lnTo>
                  <a:cubicBezTo>
                    <a:pt x="74801" y="286245"/>
                    <a:pt x="74513" y="286597"/>
                    <a:pt x="74270" y="286979"/>
                  </a:cubicBezTo>
                  <a:cubicBezTo>
                    <a:pt x="73384" y="287727"/>
                    <a:pt x="72641" y="288631"/>
                    <a:pt x="72080" y="289646"/>
                  </a:cubicBezTo>
                  <a:lnTo>
                    <a:pt x="71032" y="287836"/>
                  </a:lnTo>
                  <a:cubicBezTo>
                    <a:pt x="69786" y="286261"/>
                    <a:pt x="68966" y="284391"/>
                    <a:pt x="68651" y="282407"/>
                  </a:cubicBezTo>
                  <a:cubicBezTo>
                    <a:pt x="68477" y="281687"/>
                    <a:pt x="68477" y="280936"/>
                    <a:pt x="68651" y="280216"/>
                  </a:cubicBezTo>
                  <a:cubicBezTo>
                    <a:pt x="68597" y="279901"/>
                    <a:pt x="68597" y="279579"/>
                    <a:pt x="68651" y="279264"/>
                  </a:cubicBezTo>
                  <a:cubicBezTo>
                    <a:pt x="69103" y="278086"/>
                    <a:pt x="70096" y="277199"/>
                    <a:pt x="71318" y="276883"/>
                  </a:cubicBezTo>
                  <a:lnTo>
                    <a:pt x="72175" y="276883"/>
                  </a:lnTo>
                  <a:lnTo>
                    <a:pt x="73413" y="276883"/>
                  </a:lnTo>
                  <a:cubicBezTo>
                    <a:pt x="74609" y="277577"/>
                    <a:pt x="75494" y="278701"/>
                    <a:pt x="75890" y="280026"/>
                  </a:cubicBezTo>
                  <a:cubicBezTo>
                    <a:pt x="76318" y="281117"/>
                    <a:pt x="76417" y="282309"/>
                    <a:pt x="76175" y="283455"/>
                  </a:cubicBezTo>
                  <a:close/>
                  <a:moveTo>
                    <a:pt x="30836" y="272882"/>
                  </a:moveTo>
                  <a:cubicBezTo>
                    <a:pt x="32473" y="270663"/>
                    <a:pt x="34830" y="269080"/>
                    <a:pt x="37504" y="268405"/>
                  </a:cubicBezTo>
                  <a:cubicBezTo>
                    <a:pt x="37466" y="268785"/>
                    <a:pt x="37466" y="269168"/>
                    <a:pt x="37504" y="269548"/>
                  </a:cubicBezTo>
                  <a:cubicBezTo>
                    <a:pt x="37504" y="270501"/>
                    <a:pt x="37504" y="271644"/>
                    <a:pt x="37504" y="272692"/>
                  </a:cubicBezTo>
                  <a:cubicBezTo>
                    <a:pt x="37450" y="273580"/>
                    <a:pt x="37450" y="274471"/>
                    <a:pt x="37504" y="275359"/>
                  </a:cubicBezTo>
                  <a:lnTo>
                    <a:pt x="36361" y="275359"/>
                  </a:lnTo>
                  <a:cubicBezTo>
                    <a:pt x="35439" y="275697"/>
                    <a:pt x="34547" y="276111"/>
                    <a:pt x="33694" y="276597"/>
                  </a:cubicBezTo>
                  <a:cubicBezTo>
                    <a:pt x="32217" y="277165"/>
                    <a:pt x="30861" y="278005"/>
                    <a:pt x="29693" y="279073"/>
                  </a:cubicBezTo>
                  <a:cubicBezTo>
                    <a:pt x="29600" y="278282"/>
                    <a:pt x="29600" y="277483"/>
                    <a:pt x="29693" y="276692"/>
                  </a:cubicBezTo>
                  <a:cubicBezTo>
                    <a:pt x="29684" y="275336"/>
                    <a:pt x="30082" y="274009"/>
                    <a:pt x="30836" y="272882"/>
                  </a:cubicBezTo>
                  <a:close/>
                  <a:moveTo>
                    <a:pt x="202286" y="268405"/>
                  </a:moveTo>
                  <a:cubicBezTo>
                    <a:pt x="204939" y="269129"/>
                    <a:pt x="207281" y="270701"/>
                    <a:pt x="208954" y="272882"/>
                  </a:cubicBezTo>
                  <a:cubicBezTo>
                    <a:pt x="209699" y="274112"/>
                    <a:pt x="210032" y="275546"/>
                    <a:pt x="209906" y="276978"/>
                  </a:cubicBezTo>
                  <a:cubicBezTo>
                    <a:pt x="210043" y="277766"/>
                    <a:pt x="210043" y="278571"/>
                    <a:pt x="209906" y="279359"/>
                  </a:cubicBezTo>
                  <a:cubicBezTo>
                    <a:pt x="208761" y="278309"/>
                    <a:pt x="207439" y="277471"/>
                    <a:pt x="206001" y="276883"/>
                  </a:cubicBezTo>
                  <a:cubicBezTo>
                    <a:pt x="205148" y="276397"/>
                    <a:pt x="204256" y="275983"/>
                    <a:pt x="203334" y="275644"/>
                  </a:cubicBezTo>
                  <a:lnTo>
                    <a:pt x="202191" y="275644"/>
                  </a:lnTo>
                  <a:cubicBezTo>
                    <a:pt x="202404" y="274766"/>
                    <a:pt x="202563" y="273875"/>
                    <a:pt x="202667" y="272977"/>
                  </a:cubicBezTo>
                  <a:cubicBezTo>
                    <a:pt x="202667" y="271930"/>
                    <a:pt x="202667" y="270787"/>
                    <a:pt x="202667" y="269834"/>
                  </a:cubicBezTo>
                  <a:cubicBezTo>
                    <a:pt x="202572" y="269339"/>
                    <a:pt x="202412" y="268859"/>
                    <a:pt x="202191" y="268405"/>
                  </a:cubicBezTo>
                  <a:close/>
                  <a:moveTo>
                    <a:pt x="201143" y="276883"/>
                  </a:moveTo>
                  <a:cubicBezTo>
                    <a:pt x="203685" y="277550"/>
                    <a:pt x="206056" y="278751"/>
                    <a:pt x="208097" y="280407"/>
                  </a:cubicBezTo>
                  <a:cubicBezTo>
                    <a:pt x="208701" y="281899"/>
                    <a:pt x="209086" y="283471"/>
                    <a:pt x="209240" y="285074"/>
                  </a:cubicBezTo>
                  <a:cubicBezTo>
                    <a:pt x="209240" y="285550"/>
                    <a:pt x="209240" y="285931"/>
                    <a:pt x="209811" y="286122"/>
                  </a:cubicBezTo>
                  <a:cubicBezTo>
                    <a:pt x="210383" y="286312"/>
                    <a:pt x="210573" y="286122"/>
                    <a:pt x="210954" y="286122"/>
                  </a:cubicBezTo>
                  <a:cubicBezTo>
                    <a:pt x="211335" y="286122"/>
                    <a:pt x="215336" y="286122"/>
                    <a:pt x="219431" y="293837"/>
                  </a:cubicBezTo>
                  <a:lnTo>
                    <a:pt x="219431" y="293837"/>
                  </a:lnTo>
                  <a:cubicBezTo>
                    <a:pt x="219431" y="296218"/>
                    <a:pt x="218003" y="302029"/>
                    <a:pt x="214955" y="303362"/>
                  </a:cubicBezTo>
                  <a:cubicBezTo>
                    <a:pt x="214585" y="303518"/>
                    <a:pt x="214305" y="303833"/>
                    <a:pt x="214193" y="304219"/>
                  </a:cubicBezTo>
                  <a:cubicBezTo>
                    <a:pt x="213664" y="305321"/>
                    <a:pt x="213372" y="306522"/>
                    <a:pt x="213335" y="307744"/>
                  </a:cubicBezTo>
                  <a:cubicBezTo>
                    <a:pt x="213335" y="310411"/>
                    <a:pt x="212573" y="312982"/>
                    <a:pt x="208954" y="314411"/>
                  </a:cubicBezTo>
                  <a:cubicBezTo>
                    <a:pt x="182383" y="320651"/>
                    <a:pt x="155189" y="323846"/>
                    <a:pt x="127896" y="323936"/>
                  </a:cubicBezTo>
                  <a:lnTo>
                    <a:pt x="111418" y="323936"/>
                  </a:lnTo>
                  <a:cubicBezTo>
                    <a:pt x="84156" y="323849"/>
                    <a:pt x="56993" y="320653"/>
                    <a:pt x="30455" y="314411"/>
                  </a:cubicBezTo>
                  <a:cubicBezTo>
                    <a:pt x="27719" y="313354"/>
                    <a:pt x="25958" y="310674"/>
                    <a:pt x="26074" y="307744"/>
                  </a:cubicBezTo>
                  <a:cubicBezTo>
                    <a:pt x="25947" y="306536"/>
                    <a:pt x="25658" y="305351"/>
                    <a:pt x="25217" y="304219"/>
                  </a:cubicBezTo>
                  <a:cubicBezTo>
                    <a:pt x="25069" y="303855"/>
                    <a:pt x="24800" y="303552"/>
                    <a:pt x="24455" y="303362"/>
                  </a:cubicBezTo>
                  <a:cubicBezTo>
                    <a:pt x="21407" y="302219"/>
                    <a:pt x="20264" y="296409"/>
                    <a:pt x="19978" y="293837"/>
                  </a:cubicBezTo>
                  <a:lnTo>
                    <a:pt x="19978" y="293837"/>
                  </a:lnTo>
                  <a:cubicBezTo>
                    <a:pt x="24074" y="285741"/>
                    <a:pt x="28360" y="286122"/>
                    <a:pt x="28360" y="286122"/>
                  </a:cubicBezTo>
                  <a:cubicBezTo>
                    <a:pt x="28360" y="286122"/>
                    <a:pt x="29122" y="286122"/>
                    <a:pt x="29503" y="286122"/>
                  </a:cubicBezTo>
                  <a:cubicBezTo>
                    <a:pt x="29848" y="285868"/>
                    <a:pt x="30086" y="285494"/>
                    <a:pt x="30170" y="285074"/>
                  </a:cubicBezTo>
                  <a:cubicBezTo>
                    <a:pt x="30344" y="283484"/>
                    <a:pt x="30695" y="281919"/>
                    <a:pt x="31217" y="280407"/>
                  </a:cubicBezTo>
                  <a:cubicBezTo>
                    <a:pt x="33243" y="278728"/>
                    <a:pt x="35619" y="277524"/>
                    <a:pt x="38171" y="276883"/>
                  </a:cubicBezTo>
                  <a:cubicBezTo>
                    <a:pt x="38171" y="276883"/>
                    <a:pt x="38171" y="276883"/>
                    <a:pt x="38171" y="276883"/>
                  </a:cubicBezTo>
                  <a:cubicBezTo>
                    <a:pt x="47389" y="280317"/>
                    <a:pt x="56980" y="282651"/>
                    <a:pt x="66746" y="283836"/>
                  </a:cubicBezTo>
                  <a:cubicBezTo>
                    <a:pt x="67225" y="285562"/>
                    <a:pt x="68034" y="287179"/>
                    <a:pt x="69127" y="288598"/>
                  </a:cubicBezTo>
                  <a:cubicBezTo>
                    <a:pt x="70079" y="289932"/>
                    <a:pt x="70746" y="290884"/>
                    <a:pt x="70651" y="291932"/>
                  </a:cubicBezTo>
                  <a:cubicBezTo>
                    <a:pt x="70642" y="292392"/>
                    <a:pt x="70962" y="292793"/>
                    <a:pt x="71413" y="292885"/>
                  </a:cubicBezTo>
                  <a:lnTo>
                    <a:pt x="71413" y="292885"/>
                  </a:lnTo>
                  <a:cubicBezTo>
                    <a:pt x="71810" y="292863"/>
                    <a:pt x="72152" y="292597"/>
                    <a:pt x="72270" y="292218"/>
                  </a:cubicBezTo>
                  <a:cubicBezTo>
                    <a:pt x="72757" y="290575"/>
                    <a:pt x="73679" y="289095"/>
                    <a:pt x="74937" y="287932"/>
                  </a:cubicBezTo>
                  <a:cubicBezTo>
                    <a:pt x="75429" y="287555"/>
                    <a:pt x="75821" y="287065"/>
                    <a:pt x="76080" y="286503"/>
                  </a:cubicBezTo>
                  <a:lnTo>
                    <a:pt x="76080" y="286503"/>
                  </a:lnTo>
                  <a:cubicBezTo>
                    <a:pt x="76345" y="286164"/>
                    <a:pt x="76539" y="285775"/>
                    <a:pt x="76652" y="285360"/>
                  </a:cubicBezTo>
                  <a:cubicBezTo>
                    <a:pt x="82504" y="285989"/>
                    <a:pt x="88386" y="286307"/>
                    <a:pt x="94273" y="286312"/>
                  </a:cubicBezTo>
                  <a:cubicBezTo>
                    <a:pt x="97702" y="286312"/>
                    <a:pt x="100750" y="286312"/>
                    <a:pt x="103798" y="286312"/>
                  </a:cubicBezTo>
                  <a:cubicBezTo>
                    <a:pt x="104520" y="286224"/>
                    <a:pt x="105226" y="286032"/>
                    <a:pt x="105893" y="285741"/>
                  </a:cubicBezTo>
                  <a:cubicBezTo>
                    <a:pt x="106578" y="287507"/>
                    <a:pt x="107954" y="288918"/>
                    <a:pt x="109703" y="289646"/>
                  </a:cubicBezTo>
                  <a:lnTo>
                    <a:pt x="111037" y="290408"/>
                  </a:lnTo>
                  <a:cubicBezTo>
                    <a:pt x="111831" y="290933"/>
                    <a:pt x="112433" y="291702"/>
                    <a:pt x="112751" y="292599"/>
                  </a:cubicBezTo>
                  <a:cubicBezTo>
                    <a:pt x="112751" y="292599"/>
                    <a:pt x="112751" y="293361"/>
                    <a:pt x="113418" y="293837"/>
                  </a:cubicBezTo>
                  <a:cubicBezTo>
                    <a:pt x="113654" y="293973"/>
                    <a:pt x="113944" y="293973"/>
                    <a:pt x="114180" y="293837"/>
                  </a:cubicBezTo>
                  <a:lnTo>
                    <a:pt x="114180" y="293837"/>
                  </a:lnTo>
                  <a:cubicBezTo>
                    <a:pt x="114514" y="293841"/>
                    <a:pt x="114799" y="293596"/>
                    <a:pt x="114847" y="293266"/>
                  </a:cubicBezTo>
                  <a:cubicBezTo>
                    <a:pt x="116252" y="290831"/>
                    <a:pt x="117279" y="288198"/>
                    <a:pt x="117895" y="285455"/>
                  </a:cubicBezTo>
                  <a:lnTo>
                    <a:pt x="121133" y="285455"/>
                  </a:lnTo>
                  <a:cubicBezTo>
                    <a:pt x="121575" y="288403"/>
                    <a:pt x="122475" y="291263"/>
                    <a:pt x="123800" y="293932"/>
                  </a:cubicBezTo>
                  <a:cubicBezTo>
                    <a:pt x="123800" y="293932"/>
                    <a:pt x="123800" y="294504"/>
                    <a:pt x="124372" y="294504"/>
                  </a:cubicBezTo>
                  <a:lnTo>
                    <a:pt x="124372" y="294504"/>
                  </a:lnTo>
                  <a:cubicBezTo>
                    <a:pt x="124372" y="294504"/>
                    <a:pt x="124943" y="294504"/>
                    <a:pt x="125039" y="294504"/>
                  </a:cubicBezTo>
                  <a:cubicBezTo>
                    <a:pt x="125366" y="294122"/>
                    <a:pt x="125653" y="293707"/>
                    <a:pt x="125896" y="293266"/>
                  </a:cubicBezTo>
                  <a:cubicBezTo>
                    <a:pt x="126214" y="292369"/>
                    <a:pt x="126816" y="291600"/>
                    <a:pt x="127610" y="291075"/>
                  </a:cubicBezTo>
                  <a:lnTo>
                    <a:pt x="128944" y="290313"/>
                  </a:lnTo>
                  <a:cubicBezTo>
                    <a:pt x="130669" y="289550"/>
                    <a:pt x="132033" y="288151"/>
                    <a:pt x="132754" y="286408"/>
                  </a:cubicBezTo>
                  <a:cubicBezTo>
                    <a:pt x="133421" y="286698"/>
                    <a:pt x="134127" y="286891"/>
                    <a:pt x="134849" y="286979"/>
                  </a:cubicBezTo>
                  <a:cubicBezTo>
                    <a:pt x="137802" y="286979"/>
                    <a:pt x="141041" y="286979"/>
                    <a:pt x="144374" y="286979"/>
                  </a:cubicBezTo>
                  <a:cubicBezTo>
                    <a:pt x="150198" y="286976"/>
                    <a:pt x="156016" y="286658"/>
                    <a:pt x="161805" y="286027"/>
                  </a:cubicBezTo>
                  <a:lnTo>
                    <a:pt x="162567" y="287170"/>
                  </a:lnTo>
                  <a:lnTo>
                    <a:pt x="162567" y="287170"/>
                  </a:lnTo>
                  <a:cubicBezTo>
                    <a:pt x="162866" y="287734"/>
                    <a:pt x="163289" y="288223"/>
                    <a:pt x="163805" y="288598"/>
                  </a:cubicBezTo>
                  <a:cubicBezTo>
                    <a:pt x="165046" y="289776"/>
                    <a:pt x="165965" y="291251"/>
                    <a:pt x="166472" y="292885"/>
                  </a:cubicBezTo>
                  <a:cubicBezTo>
                    <a:pt x="166554" y="293249"/>
                    <a:pt x="166862" y="293519"/>
                    <a:pt x="167234" y="293551"/>
                  </a:cubicBezTo>
                  <a:lnTo>
                    <a:pt x="167234" y="293551"/>
                  </a:lnTo>
                  <a:cubicBezTo>
                    <a:pt x="167685" y="293460"/>
                    <a:pt x="168006" y="293059"/>
                    <a:pt x="167996" y="292599"/>
                  </a:cubicBezTo>
                  <a:cubicBezTo>
                    <a:pt x="167996" y="291551"/>
                    <a:pt x="168473" y="290599"/>
                    <a:pt x="169425" y="289265"/>
                  </a:cubicBezTo>
                  <a:cubicBezTo>
                    <a:pt x="170555" y="287869"/>
                    <a:pt x="171367" y="286244"/>
                    <a:pt x="171806" y="284503"/>
                  </a:cubicBezTo>
                  <a:cubicBezTo>
                    <a:pt x="181569" y="283303"/>
                    <a:pt x="191159" y="280969"/>
                    <a:pt x="200381" y="277549"/>
                  </a:cubicBezTo>
                  <a:cubicBezTo>
                    <a:pt x="200381" y="277549"/>
                    <a:pt x="200858" y="276978"/>
                    <a:pt x="201048" y="276883"/>
                  </a:cubicBezTo>
                  <a:close/>
                  <a:moveTo>
                    <a:pt x="163043" y="280312"/>
                  </a:moveTo>
                  <a:cubicBezTo>
                    <a:pt x="163505" y="279022"/>
                    <a:pt x="164374" y="277918"/>
                    <a:pt x="165520" y="277168"/>
                  </a:cubicBezTo>
                  <a:cubicBezTo>
                    <a:pt x="165959" y="277070"/>
                    <a:pt x="166414" y="277070"/>
                    <a:pt x="166853" y="277168"/>
                  </a:cubicBezTo>
                  <a:lnTo>
                    <a:pt x="167711" y="277168"/>
                  </a:lnTo>
                  <a:cubicBezTo>
                    <a:pt x="168932" y="277485"/>
                    <a:pt x="169926" y="278372"/>
                    <a:pt x="170378" y="279550"/>
                  </a:cubicBezTo>
                  <a:cubicBezTo>
                    <a:pt x="170431" y="279865"/>
                    <a:pt x="170431" y="280187"/>
                    <a:pt x="170378" y="280502"/>
                  </a:cubicBezTo>
                  <a:cubicBezTo>
                    <a:pt x="170506" y="281227"/>
                    <a:pt x="170506" y="281968"/>
                    <a:pt x="170378" y="282693"/>
                  </a:cubicBezTo>
                  <a:cubicBezTo>
                    <a:pt x="170062" y="284677"/>
                    <a:pt x="169242" y="286547"/>
                    <a:pt x="167996" y="288122"/>
                  </a:cubicBezTo>
                  <a:lnTo>
                    <a:pt x="166949" y="289932"/>
                  </a:lnTo>
                  <a:cubicBezTo>
                    <a:pt x="166334" y="288954"/>
                    <a:pt x="165598" y="288057"/>
                    <a:pt x="164758" y="287265"/>
                  </a:cubicBezTo>
                  <a:lnTo>
                    <a:pt x="163805" y="286217"/>
                  </a:lnTo>
                  <a:lnTo>
                    <a:pt x="163805" y="286217"/>
                  </a:lnTo>
                  <a:lnTo>
                    <a:pt x="162758" y="283741"/>
                  </a:lnTo>
                  <a:cubicBezTo>
                    <a:pt x="162633" y="282576"/>
                    <a:pt x="162796" y="281398"/>
                    <a:pt x="163234" y="280312"/>
                  </a:cubicBezTo>
                  <a:close/>
                  <a:moveTo>
                    <a:pt x="189618" y="269453"/>
                  </a:moveTo>
                  <a:cubicBezTo>
                    <a:pt x="191836" y="268828"/>
                    <a:pt x="194001" y="268032"/>
                    <a:pt x="196095" y="267072"/>
                  </a:cubicBezTo>
                  <a:cubicBezTo>
                    <a:pt x="197077" y="266547"/>
                    <a:pt x="198256" y="266547"/>
                    <a:pt x="199238" y="267072"/>
                  </a:cubicBezTo>
                  <a:lnTo>
                    <a:pt x="199238" y="267072"/>
                  </a:lnTo>
                  <a:lnTo>
                    <a:pt x="199238" y="267072"/>
                  </a:lnTo>
                  <a:cubicBezTo>
                    <a:pt x="199689" y="267507"/>
                    <a:pt x="199989" y="268074"/>
                    <a:pt x="200096" y="268691"/>
                  </a:cubicBezTo>
                  <a:cubicBezTo>
                    <a:pt x="200241" y="269893"/>
                    <a:pt x="200241" y="271109"/>
                    <a:pt x="200096" y="272311"/>
                  </a:cubicBezTo>
                  <a:cubicBezTo>
                    <a:pt x="200096" y="273168"/>
                    <a:pt x="200096" y="273930"/>
                    <a:pt x="200096" y="274501"/>
                  </a:cubicBezTo>
                  <a:lnTo>
                    <a:pt x="200096" y="274501"/>
                  </a:lnTo>
                  <a:cubicBezTo>
                    <a:pt x="200096" y="274501"/>
                    <a:pt x="200096" y="274501"/>
                    <a:pt x="200096" y="274978"/>
                  </a:cubicBezTo>
                  <a:cubicBezTo>
                    <a:pt x="194493" y="276896"/>
                    <a:pt x="188764" y="278423"/>
                    <a:pt x="182951" y="279550"/>
                  </a:cubicBezTo>
                  <a:lnTo>
                    <a:pt x="173426" y="281359"/>
                  </a:lnTo>
                  <a:lnTo>
                    <a:pt x="173426" y="281359"/>
                  </a:lnTo>
                  <a:cubicBezTo>
                    <a:pt x="173508" y="280568"/>
                    <a:pt x="173508" y="279770"/>
                    <a:pt x="173426" y="278978"/>
                  </a:cubicBezTo>
                  <a:cubicBezTo>
                    <a:pt x="173467" y="278758"/>
                    <a:pt x="173467" y="278532"/>
                    <a:pt x="173426" y="278311"/>
                  </a:cubicBezTo>
                  <a:cubicBezTo>
                    <a:pt x="172887" y="276476"/>
                    <a:pt x="171451" y="275040"/>
                    <a:pt x="169616" y="274501"/>
                  </a:cubicBezTo>
                  <a:lnTo>
                    <a:pt x="169616" y="274501"/>
                  </a:lnTo>
                  <a:cubicBezTo>
                    <a:pt x="169172" y="274457"/>
                    <a:pt x="168726" y="274457"/>
                    <a:pt x="168282" y="274501"/>
                  </a:cubicBezTo>
                  <a:lnTo>
                    <a:pt x="166472" y="274501"/>
                  </a:lnTo>
                  <a:cubicBezTo>
                    <a:pt x="165892" y="274657"/>
                    <a:pt x="165343" y="274915"/>
                    <a:pt x="164853" y="275263"/>
                  </a:cubicBezTo>
                  <a:lnTo>
                    <a:pt x="164853" y="275263"/>
                  </a:lnTo>
                  <a:cubicBezTo>
                    <a:pt x="163299" y="276317"/>
                    <a:pt x="162262" y="277977"/>
                    <a:pt x="161996" y="279835"/>
                  </a:cubicBezTo>
                  <a:cubicBezTo>
                    <a:pt x="161814" y="280843"/>
                    <a:pt x="161814" y="281876"/>
                    <a:pt x="161996" y="282883"/>
                  </a:cubicBezTo>
                  <a:lnTo>
                    <a:pt x="161996" y="282883"/>
                  </a:lnTo>
                  <a:cubicBezTo>
                    <a:pt x="157995" y="282883"/>
                    <a:pt x="153995" y="283645"/>
                    <a:pt x="150185" y="283741"/>
                  </a:cubicBezTo>
                  <a:cubicBezTo>
                    <a:pt x="145331" y="284030"/>
                    <a:pt x="140465" y="284030"/>
                    <a:pt x="135611" y="283741"/>
                  </a:cubicBezTo>
                  <a:cubicBezTo>
                    <a:pt x="134726" y="283609"/>
                    <a:pt x="133880" y="283284"/>
                    <a:pt x="133135" y="282788"/>
                  </a:cubicBezTo>
                  <a:cubicBezTo>
                    <a:pt x="132584" y="282507"/>
                    <a:pt x="132123" y="282078"/>
                    <a:pt x="131801" y="281550"/>
                  </a:cubicBezTo>
                  <a:cubicBezTo>
                    <a:pt x="131801" y="281550"/>
                    <a:pt x="131801" y="281550"/>
                    <a:pt x="131801" y="281550"/>
                  </a:cubicBezTo>
                  <a:cubicBezTo>
                    <a:pt x="131853" y="281266"/>
                    <a:pt x="131853" y="280976"/>
                    <a:pt x="131801" y="280693"/>
                  </a:cubicBezTo>
                  <a:cubicBezTo>
                    <a:pt x="131451" y="280025"/>
                    <a:pt x="131002" y="279415"/>
                    <a:pt x="130468" y="278883"/>
                  </a:cubicBezTo>
                  <a:cubicBezTo>
                    <a:pt x="130213" y="278373"/>
                    <a:pt x="130213" y="277773"/>
                    <a:pt x="130468" y="277264"/>
                  </a:cubicBezTo>
                  <a:cubicBezTo>
                    <a:pt x="131270" y="275907"/>
                    <a:pt x="132703" y="275048"/>
                    <a:pt x="134278" y="274978"/>
                  </a:cubicBezTo>
                  <a:cubicBezTo>
                    <a:pt x="135990" y="274857"/>
                    <a:pt x="137709" y="274857"/>
                    <a:pt x="139421" y="274978"/>
                  </a:cubicBezTo>
                  <a:lnTo>
                    <a:pt x="143708" y="274978"/>
                  </a:lnTo>
                  <a:lnTo>
                    <a:pt x="154090" y="274978"/>
                  </a:lnTo>
                  <a:lnTo>
                    <a:pt x="157805" y="274978"/>
                  </a:lnTo>
                  <a:lnTo>
                    <a:pt x="167330" y="274120"/>
                  </a:lnTo>
                  <a:cubicBezTo>
                    <a:pt x="174944" y="273222"/>
                    <a:pt x="182466" y="271660"/>
                    <a:pt x="189809" y="269453"/>
                  </a:cubicBezTo>
                  <a:close/>
                  <a:moveTo>
                    <a:pt x="187523" y="268405"/>
                  </a:moveTo>
                  <a:cubicBezTo>
                    <a:pt x="185332" y="269167"/>
                    <a:pt x="183046" y="269739"/>
                    <a:pt x="180855" y="270310"/>
                  </a:cubicBezTo>
                  <a:lnTo>
                    <a:pt x="171330" y="256309"/>
                  </a:lnTo>
                  <a:lnTo>
                    <a:pt x="177807" y="234306"/>
                  </a:lnTo>
                  <a:close/>
                  <a:moveTo>
                    <a:pt x="177045" y="231448"/>
                  </a:moveTo>
                  <a:lnTo>
                    <a:pt x="170187" y="254594"/>
                  </a:lnTo>
                  <a:lnTo>
                    <a:pt x="161329" y="241354"/>
                  </a:lnTo>
                  <a:cubicBezTo>
                    <a:pt x="161329" y="241354"/>
                    <a:pt x="161329" y="241354"/>
                    <a:pt x="160472" y="241354"/>
                  </a:cubicBezTo>
                  <a:cubicBezTo>
                    <a:pt x="160185" y="241501"/>
                    <a:pt x="159951" y="241734"/>
                    <a:pt x="159805" y="242021"/>
                  </a:cubicBezTo>
                  <a:cubicBezTo>
                    <a:pt x="157233" y="249070"/>
                    <a:pt x="155519" y="253927"/>
                    <a:pt x="154852" y="256309"/>
                  </a:cubicBezTo>
                  <a:cubicBezTo>
                    <a:pt x="153042" y="254023"/>
                    <a:pt x="149327" y="248784"/>
                    <a:pt x="145327" y="242688"/>
                  </a:cubicBezTo>
                  <a:lnTo>
                    <a:pt x="149423" y="221542"/>
                  </a:lnTo>
                  <a:lnTo>
                    <a:pt x="157900" y="232972"/>
                  </a:lnTo>
                  <a:cubicBezTo>
                    <a:pt x="157900" y="232972"/>
                    <a:pt x="158471" y="233449"/>
                    <a:pt x="158757" y="232972"/>
                  </a:cubicBezTo>
                  <a:cubicBezTo>
                    <a:pt x="158968" y="233075"/>
                    <a:pt x="159213" y="233075"/>
                    <a:pt x="159424" y="232972"/>
                  </a:cubicBezTo>
                  <a:lnTo>
                    <a:pt x="164663" y="218780"/>
                  </a:lnTo>
                  <a:close/>
                  <a:moveTo>
                    <a:pt x="224670" y="263833"/>
                  </a:moveTo>
                  <a:cubicBezTo>
                    <a:pt x="223527" y="262690"/>
                    <a:pt x="222098" y="261547"/>
                    <a:pt x="220765" y="260309"/>
                  </a:cubicBezTo>
                  <a:lnTo>
                    <a:pt x="220003" y="259547"/>
                  </a:lnTo>
                  <a:lnTo>
                    <a:pt x="213145" y="74953"/>
                  </a:lnTo>
                  <a:cubicBezTo>
                    <a:pt x="209359" y="78956"/>
                    <a:pt x="205318" y="82710"/>
                    <a:pt x="201048" y="86192"/>
                  </a:cubicBezTo>
                  <a:lnTo>
                    <a:pt x="207811" y="248117"/>
                  </a:lnTo>
                  <a:lnTo>
                    <a:pt x="202572" y="243450"/>
                  </a:lnTo>
                  <a:lnTo>
                    <a:pt x="202572" y="243450"/>
                  </a:lnTo>
                  <a:lnTo>
                    <a:pt x="201715" y="242593"/>
                  </a:lnTo>
                  <a:lnTo>
                    <a:pt x="195333" y="91050"/>
                  </a:lnTo>
                  <a:cubicBezTo>
                    <a:pt x="192571" y="93145"/>
                    <a:pt x="189428" y="95336"/>
                    <a:pt x="185808" y="97432"/>
                  </a:cubicBezTo>
                  <a:lnTo>
                    <a:pt x="191428" y="233544"/>
                  </a:lnTo>
                  <a:lnTo>
                    <a:pt x="186094" y="228781"/>
                  </a:lnTo>
                  <a:lnTo>
                    <a:pt x="185141" y="228305"/>
                  </a:lnTo>
                  <a:lnTo>
                    <a:pt x="179807" y="100384"/>
                  </a:lnTo>
                  <a:cubicBezTo>
                    <a:pt x="177331" y="101623"/>
                    <a:pt x="174854" y="102956"/>
                    <a:pt x="171997" y="104099"/>
                  </a:cubicBezTo>
                  <a:cubicBezTo>
                    <a:pt x="171910" y="103806"/>
                    <a:pt x="171635" y="103610"/>
                    <a:pt x="171330" y="103623"/>
                  </a:cubicBezTo>
                  <a:cubicBezTo>
                    <a:pt x="153471" y="104102"/>
                    <a:pt x="135892" y="99117"/>
                    <a:pt x="120943" y="89335"/>
                  </a:cubicBezTo>
                  <a:cubicBezTo>
                    <a:pt x="120943" y="89335"/>
                    <a:pt x="120943" y="89335"/>
                    <a:pt x="120371" y="89335"/>
                  </a:cubicBezTo>
                  <a:cubicBezTo>
                    <a:pt x="120047" y="89148"/>
                    <a:pt x="119648" y="89148"/>
                    <a:pt x="119324" y="89335"/>
                  </a:cubicBezTo>
                  <a:cubicBezTo>
                    <a:pt x="119324" y="89335"/>
                    <a:pt x="119324" y="89335"/>
                    <a:pt x="118657" y="89335"/>
                  </a:cubicBezTo>
                  <a:cubicBezTo>
                    <a:pt x="103766" y="99166"/>
                    <a:pt x="86201" y="104157"/>
                    <a:pt x="68365" y="103623"/>
                  </a:cubicBezTo>
                  <a:cubicBezTo>
                    <a:pt x="68041" y="103625"/>
                    <a:pt x="67747" y="103809"/>
                    <a:pt x="67603" y="104099"/>
                  </a:cubicBezTo>
                  <a:cubicBezTo>
                    <a:pt x="64841" y="102956"/>
                    <a:pt x="62269" y="101623"/>
                    <a:pt x="59888" y="100384"/>
                  </a:cubicBezTo>
                  <a:lnTo>
                    <a:pt x="54554" y="228305"/>
                  </a:lnTo>
                  <a:cubicBezTo>
                    <a:pt x="54554" y="228305"/>
                    <a:pt x="53982" y="228305"/>
                    <a:pt x="53696" y="228972"/>
                  </a:cubicBezTo>
                  <a:lnTo>
                    <a:pt x="48362" y="233734"/>
                  </a:lnTo>
                  <a:lnTo>
                    <a:pt x="54077" y="97622"/>
                  </a:lnTo>
                  <a:cubicBezTo>
                    <a:pt x="50648" y="95527"/>
                    <a:pt x="47505" y="93336"/>
                    <a:pt x="44552" y="91240"/>
                  </a:cubicBezTo>
                  <a:lnTo>
                    <a:pt x="38171" y="242783"/>
                  </a:lnTo>
                  <a:lnTo>
                    <a:pt x="37313" y="243640"/>
                  </a:lnTo>
                  <a:lnTo>
                    <a:pt x="37313" y="243640"/>
                  </a:lnTo>
                  <a:lnTo>
                    <a:pt x="32075" y="248308"/>
                  </a:lnTo>
                  <a:lnTo>
                    <a:pt x="38837" y="86383"/>
                  </a:lnTo>
                  <a:cubicBezTo>
                    <a:pt x="34501" y="82977"/>
                    <a:pt x="30455" y="79218"/>
                    <a:pt x="26741" y="75143"/>
                  </a:cubicBezTo>
                  <a:lnTo>
                    <a:pt x="19025" y="259738"/>
                  </a:lnTo>
                  <a:lnTo>
                    <a:pt x="18168" y="260500"/>
                  </a:lnTo>
                  <a:cubicBezTo>
                    <a:pt x="16930" y="261738"/>
                    <a:pt x="15501" y="262881"/>
                    <a:pt x="14263" y="264024"/>
                  </a:cubicBezTo>
                  <a:lnTo>
                    <a:pt x="22645" y="71524"/>
                  </a:lnTo>
                  <a:cubicBezTo>
                    <a:pt x="18369" y="73170"/>
                    <a:pt x="14255" y="75211"/>
                    <a:pt x="10358" y="77620"/>
                  </a:cubicBezTo>
                  <a:lnTo>
                    <a:pt x="10358" y="75905"/>
                  </a:lnTo>
                  <a:cubicBezTo>
                    <a:pt x="10358" y="69428"/>
                    <a:pt x="14358" y="59617"/>
                    <a:pt x="21502" y="58379"/>
                  </a:cubicBezTo>
                  <a:cubicBezTo>
                    <a:pt x="23481" y="58009"/>
                    <a:pt x="25489" y="57818"/>
                    <a:pt x="27503" y="57808"/>
                  </a:cubicBezTo>
                  <a:cubicBezTo>
                    <a:pt x="38306" y="58691"/>
                    <a:pt x="48718" y="62260"/>
                    <a:pt x="57792" y="68190"/>
                  </a:cubicBezTo>
                  <a:cubicBezTo>
                    <a:pt x="60173" y="69523"/>
                    <a:pt x="62555" y="70666"/>
                    <a:pt x="64841" y="71809"/>
                  </a:cubicBezTo>
                  <a:cubicBezTo>
                    <a:pt x="72450" y="74596"/>
                    <a:pt x="80458" y="76139"/>
                    <a:pt x="88558" y="76381"/>
                  </a:cubicBezTo>
                  <a:cubicBezTo>
                    <a:pt x="87512" y="77794"/>
                    <a:pt x="86332" y="79102"/>
                    <a:pt x="85034" y="80287"/>
                  </a:cubicBezTo>
                  <a:cubicBezTo>
                    <a:pt x="84761" y="80758"/>
                    <a:pt x="84761" y="81339"/>
                    <a:pt x="85034" y="81811"/>
                  </a:cubicBezTo>
                  <a:cubicBezTo>
                    <a:pt x="85283" y="82145"/>
                    <a:pt x="85666" y="82354"/>
                    <a:pt x="86081" y="82382"/>
                  </a:cubicBezTo>
                  <a:lnTo>
                    <a:pt x="86081" y="82382"/>
                  </a:lnTo>
                  <a:cubicBezTo>
                    <a:pt x="86841" y="82305"/>
                    <a:pt x="87607" y="82305"/>
                    <a:pt x="88367" y="82382"/>
                  </a:cubicBezTo>
                  <a:cubicBezTo>
                    <a:pt x="92748" y="82348"/>
                    <a:pt x="96958" y="80685"/>
                    <a:pt x="100178" y="77715"/>
                  </a:cubicBezTo>
                  <a:cubicBezTo>
                    <a:pt x="99710" y="79917"/>
                    <a:pt x="99360" y="82143"/>
                    <a:pt x="99131" y="84382"/>
                  </a:cubicBezTo>
                  <a:cubicBezTo>
                    <a:pt x="99159" y="84798"/>
                    <a:pt x="99368" y="85181"/>
                    <a:pt x="99702" y="85430"/>
                  </a:cubicBezTo>
                  <a:lnTo>
                    <a:pt x="100369" y="85430"/>
                  </a:lnTo>
                  <a:lnTo>
                    <a:pt x="100369" y="85430"/>
                  </a:lnTo>
                  <a:cubicBezTo>
                    <a:pt x="104483" y="83648"/>
                    <a:pt x="108109" y="80904"/>
                    <a:pt x="110942" y="77429"/>
                  </a:cubicBezTo>
                  <a:lnTo>
                    <a:pt x="110942" y="77429"/>
                  </a:lnTo>
                  <a:lnTo>
                    <a:pt x="110942" y="77429"/>
                  </a:lnTo>
                  <a:cubicBezTo>
                    <a:pt x="112827" y="79970"/>
                    <a:pt x="115111" y="82190"/>
                    <a:pt x="117704" y="84001"/>
                  </a:cubicBezTo>
                  <a:lnTo>
                    <a:pt x="118466" y="84001"/>
                  </a:lnTo>
                  <a:lnTo>
                    <a:pt x="118466" y="84001"/>
                  </a:lnTo>
                  <a:cubicBezTo>
                    <a:pt x="118773" y="84119"/>
                    <a:pt x="119112" y="84119"/>
                    <a:pt x="119419" y="84001"/>
                  </a:cubicBezTo>
                  <a:lnTo>
                    <a:pt x="119419" y="84001"/>
                  </a:lnTo>
                  <a:cubicBezTo>
                    <a:pt x="121398" y="82133"/>
                    <a:pt x="123245" y="80128"/>
                    <a:pt x="124943" y="78001"/>
                  </a:cubicBezTo>
                  <a:cubicBezTo>
                    <a:pt x="129211" y="81754"/>
                    <a:pt x="134468" y="84201"/>
                    <a:pt x="140088" y="85049"/>
                  </a:cubicBezTo>
                  <a:cubicBezTo>
                    <a:pt x="140770" y="84999"/>
                    <a:pt x="141282" y="84405"/>
                    <a:pt x="141232" y="83723"/>
                  </a:cubicBezTo>
                  <a:cubicBezTo>
                    <a:pt x="141232" y="83721"/>
                    <a:pt x="141231" y="83718"/>
                    <a:pt x="141231" y="83716"/>
                  </a:cubicBezTo>
                  <a:cubicBezTo>
                    <a:pt x="141121" y="82177"/>
                    <a:pt x="140767" y="80666"/>
                    <a:pt x="140183" y="79239"/>
                  </a:cubicBezTo>
                  <a:cubicBezTo>
                    <a:pt x="143664" y="80885"/>
                    <a:pt x="147479" y="81700"/>
                    <a:pt x="151328" y="81620"/>
                  </a:cubicBezTo>
                  <a:cubicBezTo>
                    <a:pt x="151728" y="81627"/>
                    <a:pt x="152098" y="81406"/>
                    <a:pt x="152280" y="81049"/>
                  </a:cubicBezTo>
                  <a:cubicBezTo>
                    <a:pt x="152280" y="81049"/>
                    <a:pt x="152280" y="80287"/>
                    <a:pt x="152280" y="79810"/>
                  </a:cubicBezTo>
                  <a:lnTo>
                    <a:pt x="152280" y="79810"/>
                  </a:lnTo>
                  <a:lnTo>
                    <a:pt x="150280" y="77143"/>
                  </a:lnTo>
                  <a:cubicBezTo>
                    <a:pt x="154947" y="76667"/>
                    <a:pt x="159805" y="76191"/>
                    <a:pt x="163615" y="75524"/>
                  </a:cubicBezTo>
                  <a:cubicBezTo>
                    <a:pt x="167546" y="74881"/>
                    <a:pt x="171384" y="73762"/>
                    <a:pt x="175045" y="72190"/>
                  </a:cubicBezTo>
                  <a:lnTo>
                    <a:pt x="182093" y="68571"/>
                  </a:lnTo>
                  <a:cubicBezTo>
                    <a:pt x="191160" y="62626"/>
                    <a:pt x="201576" y="59056"/>
                    <a:pt x="212383" y="58189"/>
                  </a:cubicBezTo>
                  <a:cubicBezTo>
                    <a:pt x="214365" y="58195"/>
                    <a:pt x="216342" y="58386"/>
                    <a:pt x="218288" y="58760"/>
                  </a:cubicBezTo>
                  <a:cubicBezTo>
                    <a:pt x="225527" y="59998"/>
                    <a:pt x="229242" y="69809"/>
                    <a:pt x="229528" y="76286"/>
                  </a:cubicBezTo>
                  <a:lnTo>
                    <a:pt x="229528" y="77620"/>
                  </a:lnTo>
                  <a:cubicBezTo>
                    <a:pt x="225630" y="75211"/>
                    <a:pt x="221517" y="73170"/>
                    <a:pt x="217241" y="71524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7348F277-E26F-423E-B119-514319D86C22}"/>
                </a:ext>
              </a:extLst>
            </p:cNvPr>
            <p:cNvSpPr/>
            <p:nvPr/>
          </p:nvSpPr>
          <p:spPr>
            <a:xfrm>
              <a:off x="6110382" y="25469617"/>
              <a:ext cx="9593" cy="4298"/>
            </a:xfrm>
            <a:custGeom>
              <a:avLst/>
              <a:gdLst>
                <a:gd name="connsiteX0" fmla="*/ 858 w 9593"/>
                <a:gd name="connsiteY0" fmla="*/ 1457 h 4298"/>
                <a:gd name="connsiteX1" fmla="*/ 8573 w 9593"/>
                <a:gd name="connsiteY1" fmla="*/ 4219 h 4298"/>
                <a:gd name="connsiteX2" fmla="*/ 8573 w 9593"/>
                <a:gd name="connsiteY2" fmla="*/ 4219 h 4298"/>
                <a:gd name="connsiteX3" fmla="*/ 9335 w 9593"/>
                <a:gd name="connsiteY3" fmla="*/ 4219 h 4298"/>
                <a:gd name="connsiteX4" fmla="*/ 9403 w 9593"/>
                <a:gd name="connsiteY4" fmla="*/ 3144 h 4298"/>
                <a:gd name="connsiteX5" fmla="*/ 9335 w 9593"/>
                <a:gd name="connsiteY5" fmla="*/ 3076 h 4298"/>
                <a:gd name="connsiteX6" fmla="*/ 858 w 9593"/>
                <a:gd name="connsiteY6" fmla="*/ 28 h 4298"/>
                <a:gd name="connsiteX7" fmla="*/ 28 w 9593"/>
                <a:gd name="connsiteY7" fmla="*/ 476 h 4298"/>
                <a:gd name="connsiteX8" fmla="*/ 1 w 9593"/>
                <a:gd name="connsiteY8" fmla="*/ 695 h 4298"/>
                <a:gd name="connsiteX9" fmla="*/ 757 w 9593"/>
                <a:gd name="connsiteY9" fmla="*/ 1463 h 4298"/>
                <a:gd name="connsiteX10" fmla="*/ 858 w 9593"/>
                <a:gd name="connsiteY10" fmla="*/ 1457 h 4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93" h="4298">
                  <a:moveTo>
                    <a:pt x="858" y="1457"/>
                  </a:moveTo>
                  <a:cubicBezTo>
                    <a:pt x="3559" y="1966"/>
                    <a:pt x="6163" y="2898"/>
                    <a:pt x="8573" y="4219"/>
                  </a:cubicBezTo>
                  <a:lnTo>
                    <a:pt x="8573" y="4219"/>
                  </a:lnTo>
                  <a:cubicBezTo>
                    <a:pt x="8816" y="4325"/>
                    <a:pt x="9092" y="4325"/>
                    <a:pt x="9335" y="4219"/>
                  </a:cubicBezTo>
                  <a:cubicBezTo>
                    <a:pt x="9651" y="3941"/>
                    <a:pt x="9681" y="3459"/>
                    <a:pt x="9403" y="3144"/>
                  </a:cubicBezTo>
                  <a:cubicBezTo>
                    <a:pt x="9381" y="3120"/>
                    <a:pt x="9359" y="3097"/>
                    <a:pt x="9335" y="3076"/>
                  </a:cubicBezTo>
                  <a:cubicBezTo>
                    <a:pt x="6720" y="1548"/>
                    <a:pt x="3847" y="515"/>
                    <a:pt x="858" y="28"/>
                  </a:cubicBezTo>
                  <a:cubicBezTo>
                    <a:pt x="505" y="-77"/>
                    <a:pt x="133" y="123"/>
                    <a:pt x="28" y="476"/>
                  </a:cubicBezTo>
                  <a:cubicBezTo>
                    <a:pt x="7" y="547"/>
                    <a:pt x="-3" y="621"/>
                    <a:pt x="1" y="695"/>
                  </a:cubicBezTo>
                  <a:cubicBezTo>
                    <a:pt x="-3" y="1116"/>
                    <a:pt x="336" y="1460"/>
                    <a:pt x="757" y="1463"/>
                  </a:cubicBezTo>
                  <a:cubicBezTo>
                    <a:pt x="790" y="1463"/>
                    <a:pt x="824" y="1461"/>
                    <a:pt x="858" y="1457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5E22B7E6-A257-4325-9D22-941801ABEEFF}"/>
                </a:ext>
              </a:extLst>
            </p:cNvPr>
            <p:cNvSpPr/>
            <p:nvPr/>
          </p:nvSpPr>
          <p:spPr>
            <a:xfrm>
              <a:off x="6124479" y="25474407"/>
              <a:ext cx="10259" cy="3715"/>
            </a:xfrm>
            <a:custGeom>
              <a:avLst/>
              <a:gdLst>
                <a:gd name="connsiteX0" fmla="*/ 667 w 10259"/>
                <a:gd name="connsiteY0" fmla="*/ 1430 h 3715"/>
                <a:gd name="connsiteX1" fmla="*/ 9239 w 10259"/>
                <a:gd name="connsiteY1" fmla="*/ 3716 h 3715"/>
                <a:gd name="connsiteX2" fmla="*/ 9239 w 10259"/>
                <a:gd name="connsiteY2" fmla="*/ 3716 h 3715"/>
                <a:gd name="connsiteX3" fmla="*/ 10001 w 10259"/>
                <a:gd name="connsiteY3" fmla="*/ 3716 h 3715"/>
                <a:gd name="connsiteX4" fmla="*/ 10069 w 10259"/>
                <a:gd name="connsiteY4" fmla="*/ 2640 h 3715"/>
                <a:gd name="connsiteX5" fmla="*/ 10001 w 10259"/>
                <a:gd name="connsiteY5" fmla="*/ 2573 h 3715"/>
                <a:gd name="connsiteX6" fmla="*/ 952 w 10259"/>
                <a:gd name="connsiteY6" fmla="*/ 1 h 3715"/>
                <a:gd name="connsiteX7" fmla="*/ 0 w 10259"/>
                <a:gd name="connsiteY7" fmla="*/ 668 h 3715"/>
                <a:gd name="connsiteX8" fmla="*/ 667 w 10259"/>
                <a:gd name="connsiteY8" fmla="*/ 1430 h 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59" h="3715">
                  <a:moveTo>
                    <a:pt x="667" y="1430"/>
                  </a:moveTo>
                  <a:cubicBezTo>
                    <a:pt x="3582" y="1956"/>
                    <a:pt x="6449" y="2721"/>
                    <a:pt x="9239" y="3716"/>
                  </a:cubicBezTo>
                  <a:lnTo>
                    <a:pt x="9239" y="3716"/>
                  </a:lnTo>
                  <a:cubicBezTo>
                    <a:pt x="9239" y="3716"/>
                    <a:pt x="9811" y="3716"/>
                    <a:pt x="10001" y="3716"/>
                  </a:cubicBezTo>
                  <a:cubicBezTo>
                    <a:pt x="10317" y="3437"/>
                    <a:pt x="10347" y="2956"/>
                    <a:pt x="10069" y="2640"/>
                  </a:cubicBezTo>
                  <a:cubicBezTo>
                    <a:pt x="10048" y="2616"/>
                    <a:pt x="10025" y="2594"/>
                    <a:pt x="10001" y="2573"/>
                  </a:cubicBezTo>
                  <a:cubicBezTo>
                    <a:pt x="7080" y="1410"/>
                    <a:pt x="4048" y="548"/>
                    <a:pt x="952" y="1"/>
                  </a:cubicBezTo>
                  <a:cubicBezTo>
                    <a:pt x="520" y="-19"/>
                    <a:pt x="129" y="255"/>
                    <a:pt x="0" y="668"/>
                  </a:cubicBezTo>
                  <a:cubicBezTo>
                    <a:pt x="58" y="1029"/>
                    <a:pt x="317" y="1325"/>
                    <a:pt x="667" y="1430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A302D45C-8732-4BF1-BF26-2C2E5100B96E}"/>
                </a:ext>
              </a:extLst>
            </p:cNvPr>
            <p:cNvSpPr/>
            <p:nvPr/>
          </p:nvSpPr>
          <p:spPr>
            <a:xfrm>
              <a:off x="6149244" y="25479075"/>
              <a:ext cx="10797" cy="1431"/>
            </a:xfrm>
            <a:custGeom>
              <a:avLst/>
              <a:gdLst>
                <a:gd name="connsiteX0" fmla="*/ 952 w 10797"/>
                <a:gd name="connsiteY0" fmla="*/ 1429 h 1431"/>
                <a:gd name="connsiteX1" fmla="*/ 1810 w 10797"/>
                <a:gd name="connsiteY1" fmla="*/ 1429 h 1431"/>
                <a:gd name="connsiteX2" fmla="*/ 10001 w 10797"/>
                <a:gd name="connsiteY2" fmla="*/ 1429 h 1431"/>
                <a:gd name="connsiteX3" fmla="*/ 10001 w 10797"/>
                <a:gd name="connsiteY3" fmla="*/ 1429 h 1431"/>
                <a:gd name="connsiteX4" fmla="*/ 10763 w 10797"/>
                <a:gd name="connsiteY4" fmla="*/ 667 h 1431"/>
                <a:gd name="connsiteX5" fmla="*/ 10763 w 10797"/>
                <a:gd name="connsiteY5" fmla="*/ 0 h 1431"/>
                <a:gd name="connsiteX6" fmla="*/ 10192 w 10797"/>
                <a:gd name="connsiteY6" fmla="*/ 0 h 1431"/>
                <a:gd name="connsiteX7" fmla="*/ 6953 w 10797"/>
                <a:gd name="connsiteY7" fmla="*/ 0 h 1431"/>
                <a:gd name="connsiteX8" fmla="*/ 1524 w 10797"/>
                <a:gd name="connsiteY8" fmla="*/ 0 h 1431"/>
                <a:gd name="connsiteX9" fmla="*/ 857 w 10797"/>
                <a:gd name="connsiteY9" fmla="*/ 0 h 1431"/>
                <a:gd name="connsiteX10" fmla="*/ 0 w 10797"/>
                <a:gd name="connsiteY10" fmla="*/ 857 h 1431"/>
                <a:gd name="connsiteX11" fmla="*/ 952 w 10797"/>
                <a:gd name="connsiteY11" fmla="*/ 1429 h 1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97" h="1431">
                  <a:moveTo>
                    <a:pt x="952" y="1429"/>
                  </a:moveTo>
                  <a:cubicBezTo>
                    <a:pt x="1235" y="1370"/>
                    <a:pt x="1527" y="1370"/>
                    <a:pt x="1810" y="1429"/>
                  </a:cubicBezTo>
                  <a:cubicBezTo>
                    <a:pt x="4523" y="996"/>
                    <a:pt x="7288" y="996"/>
                    <a:pt x="10001" y="1429"/>
                  </a:cubicBezTo>
                  <a:cubicBezTo>
                    <a:pt x="10001" y="1429"/>
                    <a:pt x="10001" y="1429"/>
                    <a:pt x="10001" y="1429"/>
                  </a:cubicBezTo>
                  <a:cubicBezTo>
                    <a:pt x="10001" y="1429"/>
                    <a:pt x="10668" y="1429"/>
                    <a:pt x="10763" y="667"/>
                  </a:cubicBezTo>
                  <a:cubicBezTo>
                    <a:pt x="10809" y="447"/>
                    <a:pt x="10809" y="220"/>
                    <a:pt x="10763" y="0"/>
                  </a:cubicBezTo>
                  <a:lnTo>
                    <a:pt x="10192" y="0"/>
                  </a:lnTo>
                  <a:lnTo>
                    <a:pt x="6953" y="0"/>
                  </a:lnTo>
                  <a:cubicBezTo>
                    <a:pt x="4763" y="0"/>
                    <a:pt x="2667" y="0"/>
                    <a:pt x="1524" y="0"/>
                  </a:cubicBezTo>
                  <a:lnTo>
                    <a:pt x="857" y="0"/>
                  </a:lnTo>
                  <a:cubicBezTo>
                    <a:pt x="384" y="0"/>
                    <a:pt x="0" y="384"/>
                    <a:pt x="0" y="857"/>
                  </a:cubicBezTo>
                  <a:cubicBezTo>
                    <a:pt x="162" y="1232"/>
                    <a:pt x="545" y="1462"/>
                    <a:pt x="952" y="1429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A5C0687-E163-4CDA-8E50-BFDEDD3DDC32}"/>
                </a:ext>
              </a:extLst>
            </p:cNvPr>
            <p:cNvSpPr/>
            <p:nvPr/>
          </p:nvSpPr>
          <p:spPr>
            <a:xfrm>
              <a:off x="6164770" y="25478694"/>
              <a:ext cx="10197" cy="2571"/>
            </a:xfrm>
            <a:custGeom>
              <a:avLst/>
              <a:gdLst>
                <a:gd name="connsiteX0" fmla="*/ 381 w 10197"/>
                <a:gd name="connsiteY0" fmla="*/ 2572 h 2571"/>
                <a:gd name="connsiteX1" fmla="*/ 381 w 10197"/>
                <a:gd name="connsiteY1" fmla="*/ 2572 h 2571"/>
                <a:gd name="connsiteX2" fmla="*/ 9430 w 10197"/>
                <a:gd name="connsiteY2" fmla="*/ 1810 h 2571"/>
                <a:gd name="connsiteX3" fmla="*/ 10193 w 10197"/>
                <a:gd name="connsiteY3" fmla="*/ 868 h 2571"/>
                <a:gd name="connsiteX4" fmla="*/ 10192 w 10197"/>
                <a:gd name="connsiteY4" fmla="*/ 857 h 2571"/>
                <a:gd name="connsiteX5" fmla="*/ 9531 w 10197"/>
                <a:gd name="connsiteY5" fmla="*/ 6 h 2571"/>
                <a:gd name="connsiteX6" fmla="*/ 9430 w 10197"/>
                <a:gd name="connsiteY6" fmla="*/ 0 h 2571"/>
                <a:gd name="connsiteX7" fmla="*/ 572 w 10197"/>
                <a:gd name="connsiteY7" fmla="*/ 857 h 2571"/>
                <a:gd name="connsiteX8" fmla="*/ 572 w 10197"/>
                <a:gd name="connsiteY8" fmla="*/ 857 h 2571"/>
                <a:gd name="connsiteX9" fmla="*/ 0 w 10197"/>
                <a:gd name="connsiteY9" fmla="*/ 857 h 2571"/>
                <a:gd name="connsiteX10" fmla="*/ 0 w 10197"/>
                <a:gd name="connsiteY10" fmla="*/ 1429 h 2571"/>
                <a:gd name="connsiteX11" fmla="*/ 381 w 10197"/>
                <a:gd name="connsiteY11" fmla="*/ 2572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97" h="2571">
                  <a:moveTo>
                    <a:pt x="381" y="2572"/>
                  </a:moveTo>
                  <a:lnTo>
                    <a:pt x="381" y="2572"/>
                  </a:lnTo>
                  <a:cubicBezTo>
                    <a:pt x="3382" y="2162"/>
                    <a:pt x="6402" y="1908"/>
                    <a:pt x="9430" y="1810"/>
                  </a:cubicBezTo>
                  <a:cubicBezTo>
                    <a:pt x="9901" y="1760"/>
                    <a:pt x="10242" y="1339"/>
                    <a:pt x="10193" y="868"/>
                  </a:cubicBezTo>
                  <a:cubicBezTo>
                    <a:pt x="10193" y="864"/>
                    <a:pt x="10192" y="861"/>
                    <a:pt x="10192" y="857"/>
                  </a:cubicBezTo>
                  <a:cubicBezTo>
                    <a:pt x="10244" y="440"/>
                    <a:pt x="9949" y="59"/>
                    <a:pt x="9531" y="6"/>
                  </a:cubicBezTo>
                  <a:cubicBezTo>
                    <a:pt x="9497" y="2"/>
                    <a:pt x="9464" y="0"/>
                    <a:pt x="9430" y="0"/>
                  </a:cubicBezTo>
                  <a:cubicBezTo>
                    <a:pt x="6460" y="68"/>
                    <a:pt x="3499" y="354"/>
                    <a:pt x="572" y="857"/>
                  </a:cubicBezTo>
                  <a:lnTo>
                    <a:pt x="572" y="857"/>
                  </a:lnTo>
                  <a:cubicBezTo>
                    <a:pt x="395" y="755"/>
                    <a:pt x="177" y="755"/>
                    <a:pt x="0" y="857"/>
                  </a:cubicBezTo>
                  <a:cubicBezTo>
                    <a:pt x="0" y="857"/>
                    <a:pt x="0" y="857"/>
                    <a:pt x="0" y="1429"/>
                  </a:cubicBezTo>
                  <a:cubicBezTo>
                    <a:pt x="0" y="2000"/>
                    <a:pt x="0" y="2572"/>
                    <a:pt x="381" y="2572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46564827-2736-4AFA-BC8D-01196A74D2A8}"/>
                </a:ext>
              </a:extLst>
            </p:cNvPr>
            <p:cNvSpPr/>
            <p:nvPr/>
          </p:nvSpPr>
          <p:spPr>
            <a:xfrm>
              <a:off x="6258849" y="25469550"/>
              <a:ext cx="9176" cy="4381"/>
            </a:xfrm>
            <a:custGeom>
              <a:avLst/>
              <a:gdLst>
                <a:gd name="connsiteX0" fmla="*/ 314 w 9176"/>
                <a:gd name="connsiteY0" fmla="*/ 4381 h 4381"/>
                <a:gd name="connsiteX1" fmla="*/ 885 w 9176"/>
                <a:gd name="connsiteY1" fmla="*/ 4381 h 4381"/>
                <a:gd name="connsiteX2" fmla="*/ 8600 w 9176"/>
                <a:gd name="connsiteY2" fmla="*/ 1619 h 4381"/>
                <a:gd name="connsiteX3" fmla="*/ 9128 w 9176"/>
                <a:gd name="connsiteY3" fmla="*/ 528 h 4381"/>
                <a:gd name="connsiteX4" fmla="*/ 8600 w 9176"/>
                <a:gd name="connsiteY4" fmla="*/ 0 h 4381"/>
                <a:gd name="connsiteX5" fmla="*/ 218 w 9176"/>
                <a:gd name="connsiteY5" fmla="*/ 3048 h 4381"/>
                <a:gd name="connsiteX6" fmla="*/ 218 w 9176"/>
                <a:gd name="connsiteY6" fmla="*/ 4191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76" h="4381">
                  <a:moveTo>
                    <a:pt x="314" y="4381"/>
                  </a:moveTo>
                  <a:lnTo>
                    <a:pt x="885" y="4381"/>
                  </a:lnTo>
                  <a:cubicBezTo>
                    <a:pt x="3307" y="3087"/>
                    <a:pt x="5907" y="2157"/>
                    <a:pt x="8600" y="1619"/>
                  </a:cubicBezTo>
                  <a:cubicBezTo>
                    <a:pt x="9047" y="1464"/>
                    <a:pt x="9284" y="975"/>
                    <a:pt x="9128" y="528"/>
                  </a:cubicBezTo>
                  <a:cubicBezTo>
                    <a:pt x="9042" y="281"/>
                    <a:pt x="8848" y="86"/>
                    <a:pt x="8600" y="0"/>
                  </a:cubicBezTo>
                  <a:cubicBezTo>
                    <a:pt x="5643" y="492"/>
                    <a:pt x="2801" y="1525"/>
                    <a:pt x="218" y="3048"/>
                  </a:cubicBezTo>
                  <a:cubicBezTo>
                    <a:pt x="-73" y="3373"/>
                    <a:pt x="-73" y="3866"/>
                    <a:pt x="218" y="4191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35D8694-D977-4BC9-8290-2FDB84AAC004}"/>
                </a:ext>
              </a:extLst>
            </p:cNvPr>
            <p:cNvSpPr/>
            <p:nvPr/>
          </p:nvSpPr>
          <p:spPr>
            <a:xfrm>
              <a:off x="6244332" y="25474122"/>
              <a:ext cx="10640" cy="3714"/>
            </a:xfrm>
            <a:custGeom>
              <a:avLst/>
              <a:gdLst>
                <a:gd name="connsiteX0" fmla="*/ 258 w 10640"/>
                <a:gd name="connsiteY0" fmla="*/ 3715 h 3714"/>
                <a:gd name="connsiteX1" fmla="*/ 258 w 10640"/>
                <a:gd name="connsiteY1" fmla="*/ 3715 h 3714"/>
                <a:gd name="connsiteX2" fmla="*/ 9783 w 10640"/>
                <a:gd name="connsiteY2" fmla="*/ 1714 h 3714"/>
                <a:gd name="connsiteX3" fmla="*/ 10640 w 10640"/>
                <a:gd name="connsiteY3" fmla="*/ 857 h 3714"/>
                <a:gd name="connsiteX4" fmla="*/ 9783 w 10640"/>
                <a:gd name="connsiteY4" fmla="*/ 0 h 3714"/>
                <a:gd name="connsiteX5" fmla="*/ 258 w 10640"/>
                <a:gd name="connsiteY5" fmla="*/ 1715 h 3714"/>
                <a:gd name="connsiteX6" fmla="*/ 191 w 10640"/>
                <a:gd name="connsiteY6" fmla="*/ 2790 h 3714"/>
                <a:gd name="connsiteX7" fmla="*/ 258 w 10640"/>
                <a:gd name="connsiteY7" fmla="*/ 2858 h 3714"/>
                <a:gd name="connsiteX8" fmla="*/ 258 w 10640"/>
                <a:gd name="connsiteY8" fmla="*/ 3715 h 3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640" h="3714">
                  <a:moveTo>
                    <a:pt x="258" y="3715"/>
                  </a:moveTo>
                  <a:cubicBezTo>
                    <a:pt x="258" y="3715"/>
                    <a:pt x="258" y="3715"/>
                    <a:pt x="258" y="3715"/>
                  </a:cubicBezTo>
                  <a:cubicBezTo>
                    <a:pt x="3367" y="2764"/>
                    <a:pt x="6554" y="2094"/>
                    <a:pt x="9783" y="1714"/>
                  </a:cubicBezTo>
                  <a:cubicBezTo>
                    <a:pt x="10256" y="1714"/>
                    <a:pt x="10640" y="1331"/>
                    <a:pt x="10640" y="857"/>
                  </a:cubicBezTo>
                  <a:cubicBezTo>
                    <a:pt x="10640" y="384"/>
                    <a:pt x="10256" y="0"/>
                    <a:pt x="9783" y="0"/>
                  </a:cubicBezTo>
                  <a:cubicBezTo>
                    <a:pt x="6558" y="247"/>
                    <a:pt x="3367" y="821"/>
                    <a:pt x="258" y="1715"/>
                  </a:cubicBezTo>
                  <a:cubicBezTo>
                    <a:pt x="-58" y="1993"/>
                    <a:pt x="-88" y="2474"/>
                    <a:pt x="191" y="2790"/>
                  </a:cubicBezTo>
                  <a:cubicBezTo>
                    <a:pt x="212" y="2814"/>
                    <a:pt x="234" y="2836"/>
                    <a:pt x="258" y="2858"/>
                  </a:cubicBezTo>
                  <a:cubicBezTo>
                    <a:pt x="136" y="3130"/>
                    <a:pt x="136" y="3442"/>
                    <a:pt x="258" y="3715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84167B9-D025-4788-AB7F-34EE9B1BF9B7}"/>
                </a:ext>
              </a:extLst>
            </p:cNvPr>
            <p:cNvSpPr/>
            <p:nvPr/>
          </p:nvSpPr>
          <p:spPr>
            <a:xfrm>
              <a:off x="6219123" y="25478581"/>
              <a:ext cx="10702" cy="1541"/>
            </a:xfrm>
            <a:custGeom>
              <a:avLst/>
              <a:gdLst>
                <a:gd name="connsiteX0" fmla="*/ 9464 w 10702"/>
                <a:gd name="connsiteY0" fmla="*/ 113 h 1541"/>
                <a:gd name="connsiteX1" fmla="*/ 8798 w 10702"/>
                <a:gd name="connsiteY1" fmla="*/ 113 h 1541"/>
                <a:gd name="connsiteX2" fmla="*/ 3464 w 10702"/>
                <a:gd name="connsiteY2" fmla="*/ 113 h 1541"/>
                <a:gd name="connsiteX3" fmla="*/ 3464 w 10702"/>
                <a:gd name="connsiteY3" fmla="*/ 113 h 1541"/>
                <a:gd name="connsiteX4" fmla="*/ 35 w 10702"/>
                <a:gd name="connsiteY4" fmla="*/ 113 h 1541"/>
                <a:gd name="connsiteX5" fmla="*/ 35 w 10702"/>
                <a:gd name="connsiteY5" fmla="*/ 113 h 1541"/>
                <a:gd name="connsiteX6" fmla="*/ 35 w 10702"/>
                <a:gd name="connsiteY6" fmla="*/ 779 h 1541"/>
                <a:gd name="connsiteX7" fmla="*/ 797 w 10702"/>
                <a:gd name="connsiteY7" fmla="*/ 1541 h 1541"/>
                <a:gd name="connsiteX8" fmla="*/ 797 w 10702"/>
                <a:gd name="connsiteY8" fmla="*/ 1541 h 1541"/>
                <a:gd name="connsiteX9" fmla="*/ 8988 w 10702"/>
                <a:gd name="connsiteY9" fmla="*/ 1541 h 1541"/>
                <a:gd name="connsiteX10" fmla="*/ 9845 w 10702"/>
                <a:gd name="connsiteY10" fmla="*/ 1541 h 1541"/>
                <a:gd name="connsiteX11" fmla="*/ 10703 w 10702"/>
                <a:gd name="connsiteY11" fmla="*/ 589 h 1541"/>
                <a:gd name="connsiteX12" fmla="*/ 9620 w 10702"/>
                <a:gd name="connsiteY12" fmla="*/ 43 h 1541"/>
                <a:gd name="connsiteX13" fmla="*/ 9464 w 10702"/>
                <a:gd name="connsiteY13" fmla="*/ 113 h 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2" h="1541">
                  <a:moveTo>
                    <a:pt x="9464" y="113"/>
                  </a:moveTo>
                  <a:lnTo>
                    <a:pt x="8798" y="113"/>
                  </a:lnTo>
                  <a:cubicBezTo>
                    <a:pt x="7655" y="113"/>
                    <a:pt x="5559" y="113"/>
                    <a:pt x="3464" y="113"/>
                  </a:cubicBezTo>
                  <a:lnTo>
                    <a:pt x="3464" y="113"/>
                  </a:lnTo>
                  <a:lnTo>
                    <a:pt x="35" y="113"/>
                  </a:lnTo>
                  <a:lnTo>
                    <a:pt x="35" y="113"/>
                  </a:lnTo>
                  <a:cubicBezTo>
                    <a:pt x="-12" y="332"/>
                    <a:pt x="-12" y="560"/>
                    <a:pt x="35" y="779"/>
                  </a:cubicBezTo>
                  <a:cubicBezTo>
                    <a:pt x="35" y="779"/>
                    <a:pt x="35" y="1541"/>
                    <a:pt x="797" y="1541"/>
                  </a:cubicBezTo>
                  <a:cubicBezTo>
                    <a:pt x="1559" y="1541"/>
                    <a:pt x="797" y="1541"/>
                    <a:pt x="797" y="1541"/>
                  </a:cubicBezTo>
                  <a:cubicBezTo>
                    <a:pt x="3510" y="1110"/>
                    <a:pt x="6275" y="1110"/>
                    <a:pt x="8988" y="1541"/>
                  </a:cubicBezTo>
                  <a:lnTo>
                    <a:pt x="9845" y="1541"/>
                  </a:lnTo>
                  <a:cubicBezTo>
                    <a:pt x="10334" y="1492"/>
                    <a:pt x="10705" y="1080"/>
                    <a:pt x="10703" y="589"/>
                  </a:cubicBezTo>
                  <a:cubicBezTo>
                    <a:pt x="10554" y="139"/>
                    <a:pt x="10070" y="-105"/>
                    <a:pt x="9620" y="43"/>
                  </a:cubicBezTo>
                  <a:cubicBezTo>
                    <a:pt x="9566" y="61"/>
                    <a:pt x="9514" y="84"/>
                    <a:pt x="9464" y="113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9DDB7F2D-81AB-43C7-ABDA-4A75E2C7D00D}"/>
                </a:ext>
              </a:extLst>
            </p:cNvPr>
            <p:cNvSpPr/>
            <p:nvPr/>
          </p:nvSpPr>
          <p:spPr>
            <a:xfrm>
              <a:off x="6203721" y="25478789"/>
              <a:ext cx="11150" cy="2572"/>
            </a:xfrm>
            <a:custGeom>
              <a:avLst/>
              <a:gdLst>
                <a:gd name="connsiteX0" fmla="*/ 10102 w 11150"/>
                <a:gd name="connsiteY0" fmla="*/ 857 h 2572"/>
                <a:gd name="connsiteX1" fmla="*/ 9436 w 11150"/>
                <a:gd name="connsiteY1" fmla="*/ 857 h 2572"/>
                <a:gd name="connsiteX2" fmla="*/ 768 w 11150"/>
                <a:gd name="connsiteY2" fmla="*/ 0 h 2572"/>
                <a:gd name="connsiteX3" fmla="*/ 0 w 11150"/>
                <a:gd name="connsiteY3" fmla="*/ 756 h 2572"/>
                <a:gd name="connsiteX4" fmla="*/ 6 w 11150"/>
                <a:gd name="connsiteY4" fmla="*/ 857 h 2572"/>
                <a:gd name="connsiteX5" fmla="*/ 757 w 11150"/>
                <a:gd name="connsiteY5" fmla="*/ 1809 h 2572"/>
                <a:gd name="connsiteX6" fmla="*/ 768 w 11150"/>
                <a:gd name="connsiteY6" fmla="*/ 1810 h 2572"/>
                <a:gd name="connsiteX7" fmla="*/ 10293 w 11150"/>
                <a:gd name="connsiteY7" fmla="*/ 2572 h 2572"/>
                <a:gd name="connsiteX8" fmla="*/ 10293 w 11150"/>
                <a:gd name="connsiteY8" fmla="*/ 2572 h 2572"/>
                <a:gd name="connsiteX9" fmla="*/ 11150 w 11150"/>
                <a:gd name="connsiteY9" fmla="*/ 1905 h 2572"/>
                <a:gd name="connsiteX10" fmla="*/ 11150 w 11150"/>
                <a:gd name="connsiteY10" fmla="*/ 1333 h 2572"/>
                <a:gd name="connsiteX11" fmla="*/ 10419 w 11150"/>
                <a:gd name="connsiteY11" fmla="*/ 739 h 2572"/>
                <a:gd name="connsiteX12" fmla="*/ 10102 w 11150"/>
                <a:gd name="connsiteY12" fmla="*/ 857 h 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50" h="2572">
                  <a:moveTo>
                    <a:pt x="10102" y="857"/>
                  </a:moveTo>
                  <a:lnTo>
                    <a:pt x="9436" y="857"/>
                  </a:lnTo>
                  <a:cubicBezTo>
                    <a:pt x="6573" y="347"/>
                    <a:pt x="3675" y="60"/>
                    <a:pt x="768" y="0"/>
                  </a:cubicBezTo>
                  <a:cubicBezTo>
                    <a:pt x="347" y="-3"/>
                    <a:pt x="3" y="335"/>
                    <a:pt x="0" y="756"/>
                  </a:cubicBezTo>
                  <a:cubicBezTo>
                    <a:pt x="0" y="790"/>
                    <a:pt x="2" y="824"/>
                    <a:pt x="6" y="857"/>
                  </a:cubicBezTo>
                  <a:cubicBezTo>
                    <a:pt x="-49" y="1327"/>
                    <a:pt x="287" y="1753"/>
                    <a:pt x="757" y="1809"/>
                  </a:cubicBezTo>
                  <a:cubicBezTo>
                    <a:pt x="761" y="1809"/>
                    <a:pt x="764" y="1809"/>
                    <a:pt x="768" y="1810"/>
                  </a:cubicBezTo>
                  <a:cubicBezTo>
                    <a:pt x="4102" y="1810"/>
                    <a:pt x="9721" y="2572"/>
                    <a:pt x="10293" y="2572"/>
                  </a:cubicBezTo>
                  <a:lnTo>
                    <a:pt x="10293" y="2572"/>
                  </a:lnTo>
                  <a:cubicBezTo>
                    <a:pt x="10701" y="2582"/>
                    <a:pt x="11060" y="2303"/>
                    <a:pt x="11150" y="1905"/>
                  </a:cubicBezTo>
                  <a:cubicBezTo>
                    <a:pt x="11150" y="1905"/>
                    <a:pt x="11150" y="1905"/>
                    <a:pt x="11150" y="1333"/>
                  </a:cubicBezTo>
                  <a:cubicBezTo>
                    <a:pt x="11112" y="967"/>
                    <a:pt x="10785" y="701"/>
                    <a:pt x="10419" y="739"/>
                  </a:cubicBezTo>
                  <a:cubicBezTo>
                    <a:pt x="10305" y="750"/>
                    <a:pt x="10196" y="791"/>
                    <a:pt x="10102" y="857"/>
                  </a:cubicBez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846DB5C-DB2C-479F-A565-3DAFF2203BB4}"/>
                </a:ext>
              </a:extLst>
            </p:cNvPr>
            <p:cNvSpPr/>
            <p:nvPr/>
          </p:nvSpPr>
          <p:spPr>
            <a:xfrm>
              <a:off x="6141815" y="25294862"/>
              <a:ext cx="94964" cy="110109"/>
            </a:xfrm>
            <a:custGeom>
              <a:avLst/>
              <a:gdLst>
                <a:gd name="connsiteX0" fmla="*/ 94298 w 94964"/>
                <a:gd name="connsiteY0" fmla="*/ 13049 h 110109"/>
                <a:gd name="connsiteX1" fmla="*/ 92678 w 94964"/>
                <a:gd name="connsiteY1" fmla="*/ 13049 h 110109"/>
                <a:gd name="connsiteX2" fmla="*/ 90202 w 94964"/>
                <a:gd name="connsiteY2" fmla="*/ 13049 h 110109"/>
                <a:gd name="connsiteX3" fmla="*/ 65627 w 94964"/>
                <a:gd name="connsiteY3" fmla="*/ 8192 h 110109"/>
                <a:gd name="connsiteX4" fmla="*/ 61722 w 94964"/>
                <a:gd name="connsiteY4" fmla="*/ 6953 h 110109"/>
                <a:gd name="connsiteX5" fmla="*/ 48673 w 94964"/>
                <a:gd name="connsiteY5" fmla="*/ 0 h 110109"/>
                <a:gd name="connsiteX6" fmla="*/ 48101 w 94964"/>
                <a:gd name="connsiteY6" fmla="*/ 0 h 110109"/>
                <a:gd name="connsiteX7" fmla="*/ 47054 w 94964"/>
                <a:gd name="connsiteY7" fmla="*/ 0 h 110109"/>
                <a:gd name="connsiteX8" fmla="*/ 46387 w 94964"/>
                <a:gd name="connsiteY8" fmla="*/ 0 h 110109"/>
                <a:gd name="connsiteX9" fmla="*/ 29528 w 94964"/>
                <a:gd name="connsiteY9" fmla="*/ 7715 h 110109"/>
                <a:gd name="connsiteX10" fmla="*/ 4858 w 94964"/>
                <a:gd name="connsiteY10" fmla="*/ 12573 h 110109"/>
                <a:gd name="connsiteX11" fmla="*/ 2477 w 94964"/>
                <a:gd name="connsiteY11" fmla="*/ 12573 h 110109"/>
                <a:gd name="connsiteX12" fmla="*/ 667 w 94964"/>
                <a:gd name="connsiteY12" fmla="*/ 12573 h 110109"/>
                <a:gd name="connsiteX13" fmla="*/ 0 w 94964"/>
                <a:gd name="connsiteY13" fmla="*/ 13525 h 110109"/>
                <a:gd name="connsiteX14" fmla="*/ 1619 w 94964"/>
                <a:gd name="connsiteY14" fmla="*/ 32575 h 110109"/>
                <a:gd name="connsiteX15" fmla="*/ 29242 w 94964"/>
                <a:gd name="connsiteY15" fmla="*/ 92488 h 110109"/>
                <a:gd name="connsiteX16" fmla="*/ 29813 w 94964"/>
                <a:gd name="connsiteY16" fmla="*/ 93250 h 110109"/>
                <a:gd name="connsiteX17" fmla="*/ 35338 w 94964"/>
                <a:gd name="connsiteY17" fmla="*/ 99441 h 110109"/>
                <a:gd name="connsiteX18" fmla="*/ 40100 w 94964"/>
                <a:gd name="connsiteY18" fmla="*/ 104013 h 110109"/>
                <a:gd name="connsiteX19" fmla="*/ 47053 w 94964"/>
                <a:gd name="connsiteY19" fmla="*/ 110109 h 110109"/>
                <a:gd name="connsiteX20" fmla="*/ 47530 w 94964"/>
                <a:gd name="connsiteY20" fmla="*/ 110109 h 110109"/>
                <a:gd name="connsiteX21" fmla="*/ 48101 w 94964"/>
                <a:gd name="connsiteY21" fmla="*/ 110109 h 110109"/>
                <a:gd name="connsiteX22" fmla="*/ 55055 w 94964"/>
                <a:gd name="connsiteY22" fmla="*/ 104203 h 110109"/>
                <a:gd name="connsiteX23" fmla="*/ 65342 w 94964"/>
                <a:gd name="connsiteY23" fmla="*/ 93250 h 110109"/>
                <a:gd name="connsiteX24" fmla="*/ 65913 w 94964"/>
                <a:gd name="connsiteY24" fmla="*/ 92488 h 110109"/>
                <a:gd name="connsiteX25" fmla="*/ 87249 w 94964"/>
                <a:gd name="connsiteY25" fmla="*/ 56197 h 110109"/>
                <a:gd name="connsiteX26" fmla="*/ 93250 w 94964"/>
                <a:gd name="connsiteY26" fmla="*/ 32671 h 110109"/>
                <a:gd name="connsiteX27" fmla="*/ 94964 w 94964"/>
                <a:gd name="connsiteY27" fmla="*/ 13621 h 110109"/>
                <a:gd name="connsiteX28" fmla="*/ 94298 w 94964"/>
                <a:gd name="connsiteY28" fmla="*/ 13049 h 110109"/>
                <a:gd name="connsiteX29" fmla="*/ 65723 w 94964"/>
                <a:gd name="connsiteY29" fmla="*/ 90678 h 110109"/>
                <a:gd name="connsiteX30" fmla="*/ 65056 w 94964"/>
                <a:gd name="connsiteY30" fmla="*/ 91535 h 110109"/>
                <a:gd name="connsiteX31" fmla="*/ 64484 w 94964"/>
                <a:gd name="connsiteY31" fmla="*/ 92202 h 110109"/>
                <a:gd name="connsiteX32" fmla="*/ 56959 w 94964"/>
                <a:gd name="connsiteY32" fmla="*/ 100298 h 110109"/>
                <a:gd name="connsiteX33" fmla="*/ 54959 w 94964"/>
                <a:gd name="connsiteY33" fmla="*/ 102203 h 110109"/>
                <a:gd name="connsiteX34" fmla="*/ 47911 w 94964"/>
                <a:gd name="connsiteY34" fmla="*/ 108395 h 110109"/>
                <a:gd name="connsiteX35" fmla="*/ 40957 w 94964"/>
                <a:gd name="connsiteY35" fmla="*/ 102299 h 110109"/>
                <a:gd name="connsiteX36" fmla="*/ 36957 w 94964"/>
                <a:gd name="connsiteY36" fmla="*/ 98298 h 110109"/>
                <a:gd name="connsiteX37" fmla="*/ 31432 w 94964"/>
                <a:gd name="connsiteY37" fmla="*/ 92202 h 110109"/>
                <a:gd name="connsiteX38" fmla="*/ 30861 w 94964"/>
                <a:gd name="connsiteY38" fmla="*/ 91535 h 110109"/>
                <a:gd name="connsiteX39" fmla="*/ 30194 w 94964"/>
                <a:gd name="connsiteY39" fmla="*/ 90678 h 110109"/>
                <a:gd name="connsiteX40" fmla="*/ 30194 w 94964"/>
                <a:gd name="connsiteY40" fmla="*/ 9525 h 110109"/>
                <a:gd name="connsiteX41" fmla="*/ 30194 w 94964"/>
                <a:gd name="connsiteY41" fmla="*/ 9525 h 110109"/>
                <a:gd name="connsiteX42" fmla="*/ 46482 w 94964"/>
                <a:gd name="connsiteY42" fmla="*/ 2286 h 110109"/>
                <a:gd name="connsiteX43" fmla="*/ 47625 w 94964"/>
                <a:gd name="connsiteY43" fmla="*/ 1429 h 110109"/>
                <a:gd name="connsiteX44" fmla="*/ 48768 w 94964"/>
                <a:gd name="connsiteY44" fmla="*/ 2286 h 110109"/>
                <a:gd name="connsiteX45" fmla="*/ 61246 w 94964"/>
                <a:gd name="connsiteY45" fmla="*/ 8287 h 110109"/>
                <a:gd name="connsiteX46" fmla="*/ 64675 w 94964"/>
                <a:gd name="connsiteY46" fmla="*/ 9525 h 110109"/>
                <a:gd name="connsiteX47" fmla="*/ 64675 w 94964"/>
                <a:gd name="connsiteY47" fmla="*/ 9525 h 110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4964" h="110109">
                  <a:moveTo>
                    <a:pt x="94298" y="13049"/>
                  </a:moveTo>
                  <a:lnTo>
                    <a:pt x="92678" y="13049"/>
                  </a:lnTo>
                  <a:cubicBezTo>
                    <a:pt x="91856" y="13148"/>
                    <a:pt x="91024" y="13148"/>
                    <a:pt x="90202" y="13049"/>
                  </a:cubicBezTo>
                  <a:cubicBezTo>
                    <a:pt x="81837" y="12481"/>
                    <a:pt x="73579" y="10848"/>
                    <a:pt x="65627" y="8192"/>
                  </a:cubicBezTo>
                  <a:cubicBezTo>
                    <a:pt x="64292" y="7894"/>
                    <a:pt x="62985" y="7479"/>
                    <a:pt x="61722" y="6953"/>
                  </a:cubicBezTo>
                  <a:cubicBezTo>
                    <a:pt x="57143" y="5093"/>
                    <a:pt x="52770" y="2763"/>
                    <a:pt x="48673" y="0"/>
                  </a:cubicBezTo>
                  <a:lnTo>
                    <a:pt x="48101" y="0"/>
                  </a:lnTo>
                  <a:lnTo>
                    <a:pt x="47054" y="0"/>
                  </a:lnTo>
                  <a:lnTo>
                    <a:pt x="46387" y="0"/>
                  </a:lnTo>
                  <a:cubicBezTo>
                    <a:pt x="41154" y="3344"/>
                    <a:pt x="35479" y="5941"/>
                    <a:pt x="29528" y="7715"/>
                  </a:cubicBezTo>
                  <a:cubicBezTo>
                    <a:pt x="21545" y="10381"/>
                    <a:pt x="13255" y="12013"/>
                    <a:pt x="4858" y="12573"/>
                  </a:cubicBezTo>
                  <a:cubicBezTo>
                    <a:pt x="4067" y="12673"/>
                    <a:pt x="3267" y="12673"/>
                    <a:pt x="2477" y="12573"/>
                  </a:cubicBezTo>
                  <a:lnTo>
                    <a:pt x="667" y="12573"/>
                  </a:lnTo>
                  <a:cubicBezTo>
                    <a:pt x="667" y="12573"/>
                    <a:pt x="0" y="13049"/>
                    <a:pt x="0" y="13525"/>
                  </a:cubicBezTo>
                  <a:cubicBezTo>
                    <a:pt x="87" y="19906"/>
                    <a:pt x="629" y="26272"/>
                    <a:pt x="1619" y="32575"/>
                  </a:cubicBezTo>
                  <a:cubicBezTo>
                    <a:pt x="5132" y="54710"/>
                    <a:pt x="14691" y="75443"/>
                    <a:pt x="29242" y="92488"/>
                  </a:cubicBezTo>
                  <a:cubicBezTo>
                    <a:pt x="29368" y="92784"/>
                    <a:pt x="29564" y="93045"/>
                    <a:pt x="29813" y="93250"/>
                  </a:cubicBezTo>
                  <a:cubicBezTo>
                    <a:pt x="31528" y="95345"/>
                    <a:pt x="33528" y="97441"/>
                    <a:pt x="35338" y="99441"/>
                  </a:cubicBezTo>
                  <a:lnTo>
                    <a:pt x="40100" y="104013"/>
                  </a:lnTo>
                  <a:cubicBezTo>
                    <a:pt x="42307" y="106169"/>
                    <a:pt x="44628" y="108204"/>
                    <a:pt x="47053" y="110109"/>
                  </a:cubicBezTo>
                  <a:cubicBezTo>
                    <a:pt x="47054" y="110109"/>
                    <a:pt x="47054" y="110109"/>
                    <a:pt x="47530" y="110109"/>
                  </a:cubicBezTo>
                  <a:cubicBezTo>
                    <a:pt x="48006" y="110109"/>
                    <a:pt x="47530" y="110109"/>
                    <a:pt x="48101" y="110109"/>
                  </a:cubicBezTo>
                  <a:cubicBezTo>
                    <a:pt x="50482" y="108204"/>
                    <a:pt x="52769" y="106108"/>
                    <a:pt x="55055" y="104203"/>
                  </a:cubicBezTo>
                  <a:cubicBezTo>
                    <a:pt x="58769" y="100679"/>
                    <a:pt x="62103" y="96965"/>
                    <a:pt x="65342" y="93250"/>
                  </a:cubicBezTo>
                  <a:cubicBezTo>
                    <a:pt x="65591" y="93045"/>
                    <a:pt x="65787" y="92784"/>
                    <a:pt x="65913" y="92488"/>
                  </a:cubicBezTo>
                  <a:cubicBezTo>
                    <a:pt x="75106" y="81741"/>
                    <a:pt x="82329" y="69456"/>
                    <a:pt x="87249" y="56197"/>
                  </a:cubicBezTo>
                  <a:cubicBezTo>
                    <a:pt x="89976" y="48559"/>
                    <a:pt x="91985" y="40682"/>
                    <a:pt x="93250" y="32671"/>
                  </a:cubicBezTo>
                  <a:cubicBezTo>
                    <a:pt x="94321" y="26376"/>
                    <a:pt x="94895" y="20006"/>
                    <a:pt x="94964" y="13621"/>
                  </a:cubicBezTo>
                  <a:cubicBezTo>
                    <a:pt x="94848" y="13333"/>
                    <a:pt x="94600" y="13120"/>
                    <a:pt x="94298" y="13049"/>
                  </a:cubicBezTo>
                  <a:close/>
                  <a:moveTo>
                    <a:pt x="65723" y="90678"/>
                  </a:moveTo>
                  <a:cubicBezTo>
                    <a:pt x="65524" y="90981"/>
                    <a:pt x="65301" y="91268"/>
                    <a:pt x="65056" y="91535"/>
                  </a:cubicBezTo>
                  <a:cubicBezTo>
                    <a:pt x="65056" y="91535"/>
                    <a:pt x="65056" y="91535"/>
                    <a:pt x="64484" y="92202"/>
                  </a:cubicBezTo>
                  <a:cubicBezTo>
                    <a:pt x="62103" y="94964"/>
                    <a:pt x="59627" y="97631"/>
                    <a:pt x="56959" y="100298"/>
                  </a:cubicBezTo>
                  <a:lnTo>
                    <a:pt x="54959" y="102203"/>
                  </a:lnTo>
                  <a:cubicBezTo>
                    <a:pt x="52673" y="104394"/>
                    <a:pt x="50292" y="106490"/>
                    <a:pt x="47911" y="108395"/>
                  </a:cubicBezTo>
                  <a:cubicBezTo>
                    <a:pt x="45530" y="106490"/>
                    <a:pt x="43148" y="104394"/>
                    <a:pt x="40957" y="102299"/>
                  </a:cubicBezTo>
                  <a:lnTo>
                    <a:pt x="36957" y="98298"/>
                  </a:lnTo>
                  <a:cubicBezTo>
                    <a:pt x="35052" y="96298"/>
                    <a:pt x="33147" y="94298"/>
                    <a:pt x="31432" y="92202"/>
                  </a:cubicBezTo>
                  <a:lnTo>
                    <a:pt x="30861" y="91535"/>
                  </a:lnTo>
                  <a:cubicBezTo>
                    <a:pt x="30616" y="91268"/>
                    <a:pt x="30393" y="90981"/>
                    <a:pt x="30194" y="90678"/>
                  </a:cubicBezTo>
                  <a:lnTo>
                    <a:pt x="30194" y="9525"/>
                  </a:lnTo>
                  <a:lnTo>
                    <a:pt x="30194" y="9525"/>
                  </a:lnTo>
                  <a:cubicBezTo>
                    <a:pt x="35881" y="7740"/>
                    <a:pt x="41346" y="5311"/>
                    <a:pt x="46482" y="2286"/>
                  </a:cubicBezTo>
                  <a:lnTo>
                    <a:pt x="47625" y="1429"/>
                  </a:lnTo>
                  <a:lnTo>
                    <a:pt x="48768" y="2286"/>
                  </a:lnTo>
                  <a:cubicBezTo>
                    <a:pt x="52770" y="4599"/>
                    <a:pt x="56941" y="6605"/>
                    <a:pt x="61246" y="8287"/>
                  </a:cubicBezTo>
                  <a:cubicBezTo>
                    <a:pt x="62363" y="8767"/>
                    <a:pt x="63508" y="9180"/>
                    <a:pt x="64675" y="9525"/>
                  </a:cubicBezTo>
                  <a:lnTo>
                    <a:pt x="64675" y="9525"/>
                  </a:lnTo>
                  <a:close/>
                </a:path>
              </a:pathLst>
            </a:custGeom>
            <a:solidFill>
              <a:srgbClr val="BF92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5B5B4D23-41E1-4293-9086-AFC60CDBBB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224" y="5478758"/>
            <a:ext cx="1319551" cy="1379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006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  <wetp:taskpane dockstate="right" visibility="0" width="350" row="3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21DC2DC5-8D14-4A5B-B73F-CF38CECC781E}">
  <we:reference id="wa200003052" version="1.0.0.0" store="en-US" storeType="OMEX"/>
  <we:alternateReferences>
    <we:reference id="WA200003052" version="1.0.0.0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1573</TotalTime>
  <Words>1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Egyp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849</cp:revision>
  <dcterms:created xsi:type="dcterms:W3CDTF">2020-11-27T23:09:27Z</dcterms:created>
  <dcterms:modified xsi:type="dcterms:W3CDTF">2021-12-13T18:3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